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charts/chart3.xml" ContentType="application/vnd.openxmlformats-officedocument.drawingml.chart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2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3.xml" ContentType="application/vnd.openxmlformats-officedocument.presentationml.notesSlide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75" r:id="rId1"/>
  </p:sldMasterIdLst>
  <p:notesMasterIdLst>
    <p:notesMasterId r:id="rId17"/>
  </p:notesMasterIdLst>
  <p:handoutMasterIdLst>
    <p:handoutMasterId r:id="rId18"/>
  </p:handoutMasterIdLst>
  <p:sldIdLst>
    <p:sldId id="410" r:id="rId2"/>
    <p:sldId id="426" r:id="rId3"/>
    <p:sldId id="441" r:id="rId4"/>
    <p:sldId id="448" r:id="rId5"/>
    <p:sldId id="444" r:id="rId6"/>
    <p:sldId id="432" r:id="rId7"/>
    <p:sldId id="436" r:id="rId8"/>
    <p:sldId id="445" r:id="rId9"/>
    <p:sldId id="434" r:id="rId10"/>
    <p:sldId id="430" r:id="rId11"/>
    <p:sldId id="433" r:id="rId12"/>
    <p:sldId id="446" r:id="rId13"/>
    <p:sldId id="447" r:id="rId14"/>
    <p:sldId id="449" r:id="rId15"/>
    <p:sldId id="416" r:id="rId16"/>
  </p:sldIdLst>
  <p:sldSz cx="12192000" cy="6858000"/>
  <p:notesSz cx="9926638" cy="6797675"/>
  <p:custDataLst>
    <p:tags r:id="rId1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7C26D2D1-BBE9-4112-ACB6-6C4894A76BA0}">
          <p14:sldIdLst>
            <p14:sldId id="410"/>
            <p14:sldId id="426"/>
            <p14:sldId id="441"/>
            <p14:sldId id="448"/>
            <p14:sldId id="444"/>
            <p14:sldId id="432"/>
            <p14:sldId id="436"/>
            <p14:sldId id="445"/>
            <p14:sldId id="434"/>
            <p14:sldId id="430"/>
            <p14:sldId id="433"/>
            <p14:sldId id="446"/>
            <p14:sldId id="447"/>
            <p14:sldId id="449"/>
            <p14:sldId id="416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37" userDrawn="1">
          <p15:clr>
            <a:srgbClr val="A4A3A4"/>
          </p15:clr>
        </p15:guide>
        <p15:guide id="2" pos="3772" userDrawn="1">
          <p15:clr>
            <a:srgbClr val="A4A3A4"/>
          </p15:clr>
        </p15:guide>
        <p15:guide id="3" pos="7423" userDrawn="1">
          <p15:clr>
            <a:srgbClr val="A4A3A4"/>
          </p15:clr>
        </p15:guide>
        <p15:guide id="4" pos="461" userDrawn="1">
          <p15:clr>
            <a:srgbClr val="A4A3A4"/>
          </p15:clr>
        </p15:guide>
        <p15:guide id="5" orient="horz" pos="663" userDrawn="1">
          <p15:clr>
            <a:srgbClr val="A4A3A4"/>
          </p15:clr>
        </p15:guide>
        <p15:guide id="6" orient="horz" pos="3997" userDrawn="1">
          <p15:clr>
            <a:srgbClr val="A4A3A4"/>
          </p15:clr>
        </p15:guide>
        <p15:guide id="7" orient="horz" pos="935" userDrawn="1">
          <p15:clr>
            <a:srgbClr val="A4A3A4"/>
          </p15:clr>
        </p15:guide>
        <p15:guide id="8" orient="horz" pos="3952" userDrawn="1">
          <p15:clr>
            <a:srgbClr val="A4A3A4"/>
          </p15:clr>
        </p15:guide>
        <p15:guide id="9" pos="2661" userDrawn="1">
          <p15:clr>
            <a:srgbClr val="A4A3A4"/>
          </p15:clr>
        </p15:guide>
        <p15:guide id="10" pos="3296" userDrawn="1">
          <p15:clr>
            <a:srgbClr val="A4A3A4"/>
          </p15:clr>
        </p15:guide>
        <p15:guide id="11" pos="4248" userDrawn="1">
          <p15:clr>
            <a:srgbClr val="A4A3A4"/>
          </p15:clr>
        </p15:guide>
        <p15:guide id="12" pos="4588" userDrawn="1">
          <p15:clr>
            <a:srgbClr val="A4A3A4"/>
          </p15:clr>
        </p15:guide>
        <p15:guide id="13" pos="4861" userDrawn="1">
          <p15:clr>
            <a:srgbClr val="A4A3A4"/>
          </p15:clr>
        </p15:guide>
        <p15:guide id="14" pos="5146" userDrawn="1">
          <p15:clr>
            <a:srgbClr val="A4A3A4"/>
          </p15:clr>
        </p15:guide>
        <p15:guide id="15" pos="5450" userDrawn="1">
          <p15:clr>
            <a:srgbClr val="A4A3A4"/>
          </p15:clr>
        </p15:guide>
        <p15:guide id="16" pos="5745" userDrawn="1">
          <p15:clr>
            <a:srgbClr val="A4A3A4"/>
          </p15:clr>
        </p15:guide>
        <p15:guide id="17" pos="6040" userDrawn="1">
          <p15:clr>
            <a:srgbClr val="A4A3A4"/>
          </p15:clr>
        </p15:guide>
        <p15:guide id="18" pos="6788" userDrawn="1">
          <p15:clr>
            <a:srgbClr val="A4A3A4"/>
          </p15:clr>
        </p15:guide>
        <p15:guide id="19" orient="horz" pos="12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FF"/>
    <a:srgbClr val="0066CC"/>
    <a:srgbClr val="F2DCDB"/>
    <a:srgbClr val="6699FF"/>
    <a:srgbClr val="3399FF"/>
    <a:srgbClr val="0033CC"/>
    <a:srgbClr val="000099"/>
    <a:srgbClr val="0066FF"/>
    <a:srgbClr val="CC6600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995" autoAdjust="0"/>
    <p:restoredTop sz="94753" autoAdjust="0"/>
  </p:normalViewPr>
  <p:slideViewPr>
    <p:cSldViewPr snapToGrid="0">
      <p:cViewPr>
        <p:scale>
          <a:sx n="125" d="100"/>
          <a:sy n="125" d="100"/>
        </p:scale>
        <p:origin x="-180" y="360"/>
      </p:cViewPr>
      <p:guideLst>
        <p:guide orient="horz" pos="2137"/>
        <p:guide orient="horz" pos="663"/>
        <p:guide orient="horz" pos="3997"/>
        <p:guide orient="horz" pos="935"/>
        <p:guide orient="horz" pos="3952"/>
        <p:guide orient="horz" pos="1230"/>
        <p:guide pos="3772"/>
        <p:guide pos="7423"/>
        <p:guide pos="461"/>
        <p:guide pos="2661"/>
        <p:guide pos="3296"/>
        <p:guide pos="4248"/>
        <p:guide pos="4588"/>
        <p:guide pos="4861"/>
        <p:guide pos="5147"/>
        <p:guide pos="5451"/>
        <p:guide pos="5745"/>
        <p:guide pos="6040"/>
        <p:guide pos="678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00" d="100"/>
          <a:sy n="100" d="100"/>
        </p:scale>
        <p:origin x="1686" y="3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557086614173216E-2"/>
          <c:y val="3.5003173931443081E-2"/>
          <c:w val="0.32185523293963253"/>
          <c:h val="0.71578702555197227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ед.</c:v>
                </c:pt>
              </c:strCache>
            </c:strRef>
          </c:tx>
          <c:dLbls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Лист1!$A$2:$A$7</c:f>
              <c:strCache>
                <c:ptCount val="6"/>
                <c:pt idx="0">
                  <c:v>Автобусы</c:v>
                </c:pt>
                <c:pt idx="1">
                  <c:v>Грузовой транспорт</c:v>
                </c:pt>
                <c:pt idx="2">
                  <c:v>ДСТ</c:v>
                </c:pt>
                <c:pt idx="3">
                  <c:v>ПТМ</c:v>
                </c:pt>
                <c:pt idx="4">
                  <c:v>Легковой транспорт</c:v>
                </c:pt>
                <c:pt idx="5">
                  <c:v>Прочее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673</c:v>
                </c:pt>
                <c:pt idx="1">
                  <c:v>10086</c:v>
                </c:pt>
                <c:pt idx="2">
                  <c:v>1959</c:v>
                </c:pt>
                <c:pt idx="3">
                  <c:v>371</c:v>
                </c:pt>
                <c:pt idx="4">
                  <c:v>6209</c:v>
                </c:pt>
                <c:pt idx="5">
                  <c:v>176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0.61088953590707606"/>
          <c:y val="2.5118023756698776E-2"/>
          <c:w val="0.32810520474166743"/>
          <c:h val="0.7296866070466032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ед.</c:v>
                </c:pt>
              </c:strCache>
            </c:strRef>
          </c:tx>
          <c:dLbls>
            <c:dLbl>
              <c:idx val="2"/>
              <c:delete val="1"/>
            </c:dLbl>
            <c:dLbl>
              <c:idx val="3"/>
              <c:delete val="1"/>
            </c:dLbl>
            <c:dLbl>
              <c:idx val="5"/>
              <c:delete val="1"/>
            </c:dLbl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Лист1!$A$2:$A$7</c:f>
              <c:strCache>
                <c:ptCount val="6"/>
                <c:pt idx="0">
                  <c:v>Автобусы</c:v>
                </c:pt>
                <c:pt idx="1">
                  <c:v>Грузовой транспорт</c:v>
                </c:pt>
                <c:pt idx="2">
                  <c:v>ДСТ</c:v>
                </c:pt>
                <c:pt idx="3">
                  <c:v>ПТМ</c:v>
                </c:pt>
                <c:pt idx="4">
                  <c:v>Легковой транспорт</c:v>
                </c:pt>
                <c:pt idx="5">
                  <c:v>Прочее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66</c:v>
                </c:pt>
                <c:pt idx="1">
                  <c:v>43</c:v>
                </c:pt>
                <c:pt idx="2">
                  <c:v>6</c:v>
                </c:pt>
                <c:pt idx="3">
                  <c:v>3</c:v>
                </c:pt>
                <c:pt idx="4">
                  <c:v>2054</c:v>
                </c:pt>
                <c:pt idx="5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Lbls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Лист1!$A$2:$A$5</c:f>
              <c:strCache>
                <c:ptCount val="4"/>
                <c:pt idx="0">
                  <c:v>Затраты на приобретение ТС на КПГ</c:v>
                </c:pt>
                <c:pt idx="1">
                  <c:v>Затраты на переоборудования ТС на КПГ</c:v>
                </c:pt>
                <c:pt idx="2">
                  <c:v>Затраты на переоснащение стоянок ТС</c:v>
                </c:pt>
                <c:pt idx="3">
                  <c:v>Затраты на обучение сотрудников</c:v>
                </c:pt>
              </c:strCache>
            </c:strRef>
          </c:cat>
          <c:val>
            <c:numRef>
              <c:f>Лист1!$B$2:$B$5</c:f>
              <c:numCache>
                <c:formatCode>#,##0.00</c:formatCode>
                <c:ptCount val="4"/>
                <c:pt idx="0">
                  <c:v>429217.49</c:v>
                </c:pt>
                <c:pt idx="1">
                  <c:v>96036.72</c:v>
                </c:pt>
                <c:pt idx="2">
                  <c:v>421273.69</c:v>
                </c:pt>
                <c:pt idx="3">
                  <c:v>10450.54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iagrams/_rels/data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image" Target="../media/image8.png"/></Relationships>
</file>

<file path=ppt/diagrams/_rels/drawing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image" Target="../media/image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D0CC824-B325-4B64-A6B1-1B8970FEEEB3}" type="doc">
      <dgm:prSet loTypeId="urn:microsoft.com/office/officeart/2005/8/layout/chevron2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5124ABB0-B047-4065-B3DB-2EBBF42F00F2}">
      <dgm:prSet phldrT="[Текст]" custT="1"/>
      <dgm:spPr/>
      <dgm:t>
        <a:bodyPr/>
        <a:lstStyle/>
        <a:p>
          <a:r>
            <a:rPr lang="ru-RU" sz="2000" dirty="0" smtClean="0"/>
            <a:t>увеличение доли ГБА в общем объеме собственных ТС Группы компаний ООО «Газпром межрегионгаз»;</a:t>
          </a:r>
          <a:endParaRPr lang="ru-RU" sz="2000" dirty="0"/>
        </a:p>
      </dgm:t>
    </dgm:pt>
    <dgm:pt modelId="{695941A6-9056-4E8B-833D-C80476E6AC5B}" type="parTrans" cxnId="{C3A2280F-1A1B-4EE1-A416-AB30CB3E25DC}">
      <dgm:prSet/>
      <dgm:spPr/>
      <dgm:t>
        <a:bodyPr/>
        <a:lstStyle/>
        <a:p>
          <a:endParaRPr lang="ru-RU" sz="2000"/>
        </a:p>
      </dgm:t>
    </dgm:pt>
    <dgm:pt modelId="{F7D082F3-58EC-4F13-AE70-909D39333B57}" type="sibTrans" cxnId="{C3A2280F-1A1B-4EE1-A416-AB30CB3E25DC}">
      <dgm:prSet/>
      <dgm:spPr/>
      <dgm:t>
        <a:bodyPr/>
        <a:lstStyle/>
        <a:p>
          <a:endParaRPr lang="ru-RU" sz="2000"/>
        </a:p>
      </dgm:t>
    </dgm:pt>
    <dgm:pt modelId="{FFFE0C1D-1A7F-485C-AB6D-8C1203929385}">
      <dgm:prSet custT="1"/>
      <dgm:spPr/>
      <dgm:t>
        <a:bodyPr/>
        <a:lstStyle/>
        <a:p>
          <a:r>
            <a:rPr lang="ru-RU" sz="2000" dirty="0" smtClean="0"/>
            <a:t>увеличение потребления природного газа; </a:t>
          </a:r>
          <a:endParaRPr lang="ru-RU" sz="2000" dirty="0"/>
        </a:p>
      </dgm:t>
    </dgm:pt>
    <dgm:pt modelId="{8DB7F242-6DFC-4E96-AB95-9230A2782F6B}" type="parTrans" cxnId="{25FD9AF0-637F-49E3-A349-984F4BEF3CBE}">
      <dgm:prSet/>
      <dgm:spPr/>
      <dgm:t>
        <a:bodyPr/>
        <a:lstStyle/>
        <a:p>
          <a:endParaRPr lang="ru-RU" sz="2000"/>
        </a:p>
      </dgm:t>
    </dgm:pt>
    <dgm:pt modelId="{4AD7ED74-90DF-4F43-A576-2644567C2487}" type="sibTrans" cxnId="{25FD9AF0-637F-49E3-A349-984F4BEF3CBE}">
      <dgm:prSet/>
      <dgm:spPr/>
      <dgm:t>
        <a:bodyPr/>
        <a:lstStyle/>
        <a:p>
          <a:endParaRPr lang="ru-RU" sz="2000"/>
        </a:p>
      </dgm:t>
    </dgm:pt>
    <dgm:pt modelId="{33204D9C-398C-4A32-BBAC-F8D22ABD4D9A}">
      <dgm:prSet custT="1"/>
      <dgm:spPr/>
      <dgm:t>
        <a:bodyPr/>
        <a:lstStyle/>
        <a:p>
          <a:r>
            <a:rPr lang="ru-RU" sz="2000" dirty="0" smtClean="0"/>
            <a:t>снижение расходов на топливо; </a:t>
          </a:r>
          <a:endParaRPr lang="ru-RU" sz="2000" dirty="0"/>
        </a:p>
      </dgm:t>
    </dgm:pt>
    <dgm:pt modelId="{73651B0B-E2A9-4597-A17A-B9CAFC77EF90}" type="parTrans" cxnId="{1759E3A2-A800-4255-8965-E0FF9C956084}">
      <dgm:prSet/>
      <dgm:spPr/>
      <dgm:t>
        <a:bodyPr/>
        <a:lstStyle/>
        <a:p>
          <a:endParaRPr lang="ru-RU" sz="2000"/>
        </a:p>
      </dgm:t>
    </dgm:pt>
    <dgm:pt modelId="{1DECAC13-6801-4060-BDEA-A57A58C4C601}" type="sibTrans" cxnId="{1759E3A2-A800-4255-8965-E0FF9C956084}">
      <dgm:prSet/>
      <dgm:spPr/>
      <dgm:t>
        <a:bodyPr/>
        <a:lstStyle/>
        <a:p>
          <a:endParaRPr lang="ru-RU" sz="2000"/>
        </a:p>
      </dgm:t>
    </dgm:pt>
    <dgm:pt modelId="{0C0548B2-067B-4F92-9671-08BD0EEB3974}">
      <dgm:prSet custT="1"/>
      <dgm:spPr/>
      <dgm:t>
        <a:bodyPr/>
        <a:lstStyle/>
        <a:p>
          <a:r>
            <a:rPr lang="ru-RU" sz="2000" dirty="0" smtClean="0"/>
            <a:t>сокращение вредных выбросов от автотранспорта в атмосферу.</a:t>
          </a:r>
          <a:endParaRPr lang="ru-RU" sz="2000" dirty="0"/>
        </a:p>
      </dgm:t>
    </dgm:pt>
    <dgm:pt modelId="{F998A929-6792-42C9-A3D1-53B6EF81F42D}" type="parTrans" cxnId="{31A8A4B0-9200-42F1-9202-E5E99376D2B6}">
      <dgm:prSet/>
      <dgm:spPr/>
      <dgm:t>
        <a:bodyPr/>
        <a:lstStyle/>
        <a:p>
          <a:endParaRPr lang="ru-RU" sz="2000"/>
        </a:p>
      </dgm:t>
    </dgm:pt>
    <dgm:pt modelId="{D04969F5-4D08-429B-B835-4BDBD5AEBFAE}" type="sibTrans" cxnId="{31A8A4B0-9200-42F1-9202-E5E99376D2B6}">
      <dgm:prSet/>
      <dgm:spPr/>
      <dgm:t>
        <a:bodyPr/>
        <a:lstStyle/>
        <a:p>
          <a:endParaRPr lang="ru-RU" sz="2000"/>
        </a:p>
      </dgm:t>
    </dgm:pt>
    <dgm:pt modelId="{4D9B5120-BDAA-4B5E-9D50-3DB7123DB1BA}">
      <dgm:prSet phldrT="[Текст]" custT="1"/>
      <dgm:spPr/>
      <dgm:t>
        <a:bodyPr/>
        <a:lstStyle/>
        <a:p>
          <a:endParaRPr lang="ru-RU" sz="2000"/>
        </a:p>
      </dgm:t>
    </dgm:pt>
    <dgm:pt modelId="{855EBD33-F1EB-42ED-B71F-DEDE7C3C6795}" type="parTrans" cxnId="{265F4B7E-7210-4490-BE2B-92B1F7A59402}">
      <dgm:prSet/>
      <dgm:spPr/>
      <dgm:t>
        <a:bodyPr/>
        <a:lstStyle/>
        <a:p>
          <a:endParaRPr lang="ru-RU" sz="2000"/>
        </a:p>
      </dgm:t>
    </dgm:pt>
    <dgm:pt modelId="{2837E347-2115-4C55-902B-DEF8B16BB401}" type="sibTrans" cxnId="{265F4B7E-7210-4490-BE2B-92B1F7A59402}">
      <dgm:prSet/>
      <dgm:spPr/>
      <dgm:t>
        <a:bodyPr/>
        <a:lstStyle/>
        <a:p>
          <a:endParaRPr lang="ru-RU" sz="2000"/>
        </a:p>
      </dgm:t>
    </dgm:pt>
    <dgm:pt modelId="{6B3A8816-4667-4802-B915-32AD30D4F29D}">
      <dgm:prSet custT="1"/>
      <dgm:spPr/>
      <dgm:t>
        <a:bodyPr/>
        <a:lstStyle/>
        <a:p>
          <a:endParaRPr lang="ru-RU" sz="2000" dirty="0"/>
        </a:p>
      </dgm:t>
    </dgm:pt>
    <dgm:pt modelId="{C6B2CA68-5E5F-440E-9A5E-D04E16BC1961}" type="parTrans" cxnId="{9413AD7B-D673-4FAC-8687-C6F53903D56A}">
      <dgm:prSet/>
      <dgm:spPr/>
      <dgm:t>
        <a:bodyPr/>
        <a:lstStyle/>
        <a:p>
          <a:endParaRPr lang="ru-RU" sz="2000"/>
        </a:p>
      </dgm:t>
    </dgm:pt>
    <dgm:pt modelId="{2A74E105-36A5-41A8-B706-296FF2ED7920}" type="sibTrans" cxnId="{9413AD7B-D673-4FAC-8687-C6F53903D56A}">
      <dgm:prSet/>
      <dgm:spPr/>
      <dgm:t>
        <a:bodyPr/>
        <a:lstStyle/>
        <a:p>
          <a:endParaRPr lang="ru-RU" sz="2000"/>
        </a:p>
      </dgm:t>
    </dgm:pt>
    <dgm:pt modelId="{3B45FC61-8305-45ED-AE77-B17DCDA361D3}">
      <dgm:prSet custT="1"/>
      <dgm:spPr/>
      <dgm:t>
        <a:bodyPr/>
        <a:lstStyle/>
        <a:p>
          <a:endParaRPr lang="ru-RU" sz="2000" dirty="0"/>
        </a:p>
      </dgm:t>
    </dgm:pt>
    <dgm:pt modelId="{A00ABBC7-5015-4C98-A6E8-B55BDC47EC33}" type="parTrans" cxnId="{58FD08E9-4677-4D5B-BA04-055991B9CB7F}">
      <dgm:prSet/>
      <dgm:spPr/>
      <dgm:t>
        <a:bodyPr/>
        <a:lstStyle/>
        <a:p>
          <a:endParaRPr lang="ru-RU" sz="2000"/>
        </a:p>
      </dgm:t>
    </dgm:pt>
    <dgm:pt modelId="{5CC56B8C-F73D-40B4-AD8D-F84B6053D4FE}" type="sibTrans" cxnId="{58FD08E9-4677-4D5B-BA04-055991B9CB7F}">
      <dgm:prSet/>
      <dgm:spPr/>
      <dgm:t>
        <a:bodyPr/>
        <a:lstStyle/>
        <a:p>
          <a:endParaRPr lang="ru-RU" sz="2000"/>
        </a:p>
      </dgm:t>
    </dgm:pt>
    <dgm:pt modelId="{7C5909A3-E7F3-4AD0-90A5-33DF36E07798}">
      <dgm:prSet custT="1"/>
      <dgm:spPr/>
      <dgm:t>
        <a:bodyPr/>
        <a:lstStyle/>
        <a:p>
          <a:endParaRPr lang="ru-RU" sz="2000" dirty="0"/>
        </a:p>
      </dgm:t>
    </dgm:pt>
    <dgm:pt modelId="{F0466EA8-E759-4B04-8663-573EA7BA2D04}" type="parTrans" cxnId="{96748941-F686-4A28-9F7F-C6F352653984}">
      <dgm:prSet/>
      <dgm:spPr/>
      <dgm:t>
        <a:bodyPr/>
        <a:lstStyle/>
        <a:p>
          <a:endParaRPr lang="ru-RU" sz="2000"/>
        </a:p>
      </dgm:t>
    </dgm:pt>
    <dgm:pt modelId="{55AC5A58-2884-4BF1-A466-441DB01B66DF}" type="sibTrans" cxnId="{96748941-F686-4A28-9F7F-C6F352653984}">
      <dgm:prSet/>
      <dgm:spPr/>
      <dgm:t>
        <a:bodyPr/>
        <a:lstStyle/>
        <a:p>
          <a:endParaRPr lang="ru-RU" sz="2000"/>
        </a:p>
      </dgm:t>
    </dgm:pt>
    <dgm:pt modelId="{2CB90B11-4213-4747-AAB2-473A61CFE0C3}" type="pres">
      <dgm:prSet presAssocID="{1D0CC824-B325-4B64-A6B1-1B8970FEEEB3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CC040C3-EA0D-463D-8E48-E6117452DA8D}" type="pres">
      <dgm:prSet presAssocID="{4D9B5120-BDAA-4B5E-9D50-3DB7123DB1BA}" presName="composite" presStyleCnt="0"/>
      <dgm:spPr/>
    </dgm:pt>
    <dgm:pt modelId="{EAD2BA70-62F8-4FC5-BBE2-CFD41126A637}" type="pres">
      <dgm:prSet presAssocID="{4D9B5120-BDAA-4B5E-9D50-3DB7123DB1BA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2FCC6AC-72FB-47AD-8313-F3C62EB6D6C4}" type="pres">
      <dgm:prSet presAssocID="{4D9B5120-BDAA-4B5E-9D50-3DB7123DB1BA}" presName="descendantText" presStyleLbl="alignAcc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33D9C66-7C8D-401E-B1B0-EFB70A3392FA}" type="pres">
      <dgm:prSet presAssocID="{2837E347-2115-4C55-902B-DEF8B16BB401}" presName="sp" presStyleCnt="0"/>
      <dgm:spPr/>
    </dgm:pt>
    <dgm:pt modelId="{940C3E99-1911-4D26-8A9A-00E99A0160A4}" type="pres">
      <dgm:prSet presAssocID="{6B3A8816-4667-4802-B915-32AD30D4F29D}" presName="composite" presStyleCnt="0"/>
      <dgm:spPr/>
    </dgm:pt>
    <dgm:pt modelId="{1842FDEB-BF27-49AE-A9FB-1523DC23C8F1}" type="pres">
      <dgm:prSet presAssocID="{6B3A8816-4667-4802-B915-32AD30D4F29D}" presName="parentText" presStyleLbl="align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2ADA1DC-1E84-482A-8A1C-52FEA4FEFFAB}" type="pres">
      <dgm:prSet presAssocID="{6B3A8816-4667-4802-B915-32AD30D4F29D}" presName="descendantText" presStyleLbl="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E367343-3EEF-4D09-9C68-437D828ADE9F}" type="pres">
      <dgm:prSet presAssocID="{2A74E105-36A5-41A8-B706-296FF2ED7920}" presName="sp" presStyleCnt="0"/>
      <dgm:spPr/>
    </dgm:pt>
    <dgm:pt modelId="{14339450-7BA6-4BC7-B1ED-799DF14A550E}" type="pres">
      <dgm:prSet presAssocID="{3B45FC61-8305-45ED-AE77-B17DCDA361D3}" presName="composite" presStyleCnt="0"/>
      <dgm:spPr/>
    </dgm:pt>
    <dgm:pt modelId="{D77B046B-15D0-467C-8877-7DECCE663973}" type="pres">
      <dgm:prSet presAssocID="{3B45FC61-8305-45ED-AE77-B17DCDA361D3}" presName="parentText" presStyleLbl="align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CC52C94-2845-41B3-8975-27E6B4E5F41A}" type="pres">
      <dgm:prSet presAssocID="{3B45FC61-8305-45ED-AE77-B17DCDA361D3}" presName="descendantText" presStyleLbl="alignAcc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82455F-458A-4A13-8F6A-838B869BA771}" type="pres">
      <dgm:prSet presAssocID="{5CC56B8C-F73D-40B4-AD8D-F84B6053D4FE}" presName="sp" presStyleCnt="0"/>
      <dgm:spPr/>
    </dgm:pt>
    <dgm:pt modelId="{50BC603C-34A0-4202-86FE-41AB70F1FF9A}" type="pres">
      <dgm:prSet presAssocID="{7C5909A3-E7F3-4AD0-90A5-33DF36E07798}" presName="composite" presStyleCnt="0"/>
      <dgm:spPr/>
    </dgm:pt>
    <dgm:pt modelId="{D39CA110-C122-40ED-868D-84B69081C9BD}" type="pres">
      <dgm:prSet presAssocID="{7C5909A3-E7F3-4AD0-90A5-33DF36E07798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E45BA4A-B717-40E6-846E-844B025FB0A8}" type="pres">
      <dgm:prSet presAssocID="{7C5909A3-E7F3-4AD0-90A5-33DF36E07798}" presName="descendantText" presStyleLbl="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6748941-F686-4A28-9F7F-C6F352653984}" srcId="{1D0CC824-B325-4B64-A6B1-1B8970FEEEB3}" destId="{7C5909A3-E7F3-4AD0-90A5-33DF36E07798}" srcOrd="3" destOrd="0" parTransId="{F0466EA8-E759-4B04-8663-573EA7BA2D04}" sibTransId="{55AC5A58-2884-4BF1-A466-441DB01B66DF}"/>
    <dgm:cxn modelId="{9413AD7B-D673-4FAC-8687-C6F53903D56A}" srcId="{1D0CC824-B325-4B64-A6B1-1B8970FEEEB3}" destId="{6B3A8816-4667-4802-B915-32AD30D4F29D}" srcOrd="1" destOrd="0" parTransId="{C6B2CA68-5E5F-440E-9A5E-D04E16BC1961}" sibTransId="{2A74E105-36A5-41A8-B706-296FF2ED7920}"/>
    <dgm:cxn modelId="{25FD9AF0-637F-49E3-A349-984F4BEF3CBE}" srcId="{6B3A8816-4667-4802-B915-32AD30D4F29D}" destId="{FFFE0C1D-1A7F-485C-AB6D-8C1203929385}" srcOrd="0" destOrd="0" parTransId="{8DB7F242-6DFC-4E96-AB95-9230A2782F6B}" sibTransId="{4AD7ED74-90DF-4F43-A576-2644567C2487}"/>
    <dgm:cxn modelId="{BEF1343F-8205-49EB-A8D3-2A1B5F9789F9}" type="presOf" srcId="{5124ABB0-B047-4065-B3DB-2EBBF42F00F2}" destId="{02FCC6AC-72FB-47AD-8313-F3C62EB6D6C4}" srcOrd="0" destOrd="0" presId="urn:microsoft.com/office/officeart/2005/8/layout/chevron2"/>
    <dgm:cxn modelId="{A8ED0976-1CAE-4C2F-8E64-9FBDA2FC05D1}" type="presOf" srcId="{6B3A8816-4667-4802-B915-32AD30D4F29D}" destId="{1842FDEB-BF27-49AE-A9FB-1523DC23C8F1}" srcOrd="0" destOrd="0" presId="urn:microsoft.com/office/officeart/2005/8/layout/chevron2"/>
    <dgm:cxn modelId="{1759E3A2-A800-4255-8965-E0FF9C956084}" srcId="{3B45FC61-8305-45ED-AE77-B17DCDA361D3}" destId="{33204D9C-398C-4A32-BBAC-F8D22ABD4D9A}" srcOrd="0" destOrd="0" parTransId="{73651B0B-E2A9-4597-A17A-B9CAFC77EF90}" sibTransId="{1DECAC13-6801-4060-BDEA-A57A58C4C601}"/>
    <dgm:cxn modelId="{265F4B7E-7210-4490-BE2B-92B1F7A59402}" srcId="{1D0CC824-B325-4B64-A6B1-1B8970FEEEB3}" destId="{4D9B5120-BDAA-4B5E-9D50-3DB7123DB1BA}" srcOrd="0" destOrd="0" parTransId="{855EBD33-F1EB-42ED-B71F-DEDE7C3C6795}" sibTransId="{2837E347-2115-4C55-902B-DEF8B16BB401}"/>
    <dgm:cxn modelId="{58FD08E9-4677-4D5B-BA04-055991B9CB7F}" srcId="{1D0CC824-B325-4B64-A6B1-1B8970FEEEB3}" destId="{3B45FC61-8305-45ED-AE77-B17DCDA361D3}" srcOrd="2" destOrd="0" parTransId="{A00ABBC7-5015-4C98-A6E8-B55BDC47EC33}" sibTransId="{5CC56B8C-F73D-40B4-AD8D-F84B6053D4FE}"/>
    <dgm:cxn modelId="{C3A2280F-1A1B-4EE1-A416-AB30CB3E25DC}" srcId="{4D9B5120-BDAA-4B5E-9D50-3DB7123DB1BA}" destId="{5124ABB0-B047-4065-B3DB-2EBBF42F00F2}" srcOrd="0" destOrd="0" parTransId="{695941A6-9056-4E8B-833D-C80476E6AC5B}" sibTransId="{F7D082F3-58EC-4F13-AE70-909D39333B57}"/>
    <dgm:cxn modelId="{AF6D96CA-192C-485E-845A-1C2A00268894}" type="presOf" srcId="{0C0548B2-067B-4F92-9671-08BD0EEB3974}" destId="{2E45BA4A-B717-40E6-846E-844B025FB0A8}" srcOrd="0" destOrd="0" presId="urn:microsoft.com/office/officeart/2005/8/layout/chevron2"/>
    <dgm:cxn modelId="{E1FE06D0-8D24-4B19-9E7E-8A4E2DEB3FF9}" type="presOf" srcId="{FFFE0C1D-1A7F-485C-AB6D-8C1203929385}" destId="{82ADA1DC-1E84-482A-8A1C-52FEA4FEFFAB}" srcOrd="0" destOrd="0" presId="urn:microsoft.com/office/officeart/2005/8/layout/chevron2"/>
    <dgm:cxn modelId="{E684EBCE-54A2-4CEA-980B-BD70D2C68BB4}" type="presOf" srcId="{33204D9C-398C-4A32-BBAC-F8D22ABD4D9A}" destId="{0CC52C94-2845-41B3-8975-27E6B4E5F41A}" srcOrd="0" destOrd="0" presId="urn:microsoft.com/office/officeart/2005/8/layout/chevron2"/>
    <dgm:cxn modelId="{D6A6600D-0777-4019-81C8-FF9871002262}" type="presOf" srcId="{4D9B5120-BDAA-4B5E-9D50-3DB7123DB1BA}" destId="{EAD2BA70-62F8-4FC5-BBE2-CFD41126A637}" srcOrd="0" destOrd="0" presId="urn:microsoft.com/office/officeart/2005/8/layout/chevron2"/>
    <dgm:cxn modelId="{BF9BD8CC-0323-4C9E-A7ED-E7396D359D90}" type="presOf" srcId="{1D0CC824-B325-4B64-A6B1-1B8970FEEEB3}" destId="{2CB90B11-4213-4747-AAB2-473A61CFE0C3}" srcOrd="0" destOrd="0" presId="urn:microsoft.com/office/officeart/2005/8/layout/chevron2"/>
    <dgm:cxn modelId="{3A1606C9-7CBC-4A60-A57C-EBA45BE0F8AD}" type="presOf" srcId="{7C5909A3-E7F3-4AD0-90A5-33DF36E07798}" destId="{D39CA110-C122-40ED-868D-84B69081C9BD}" srcOrd="0" destOrd="0" presId="urn:microsoft.com/office/officeart/2005/8/layout/chevron2"/>
    <dgm:cxn modelId="{BBA82C55-F1C8-4F4F-9CF4-AB8747A5CED0}" type="presOf" srcId="{3B45FC61-8305-45ED-AE77-B17DCDA361D3}" destId="{D77B046B-15D0-467C-8877-7DECCE663973}" srcOrd="0" destOrd="0" presId="urn:microsoft.com/office/officeart/2005/8/layout/chevron2"/>
    <dgm:cxn modelId="{31A8A4B0-9200-42F1-9202-E5E99376D2B6}" srcId="{7C5909A3-E7F3-4AD0-90A5-33DF36E07798}" destId="{0C0548B2-067B-4F92-9671-08BD0EEB3974}" srcOrd="0" destOrd="0" parTransId="{F998A929-6792-42C9-A3D1-53B6EF81F42D}" sibTransId="{D04969F5-4D08-429B-B835-4BDBD5AEBFAE}"/>
    <dgm:cxn modelId="{F33E4539-92CA-47E4-B5F1-82D41A3881FC}" type="presParOf" srcId="{2CB90B11-4213-4747-AAB2-473A61CFE0C3}" destId="{9CC040C3-EA0D-463D-8E48-E6117452DA8D}" srcOrd="0" destOrd="0" presId="urn:microsoft.com/office/officeart/2005/8/layout/chevron2"/>
    <dgm:cxn modelId="{DD424A7D-E2A7-40CB-8A32-485A3344821D}" type="presParOf" srcId="{9CC040C3-EA0D-463D-8E48-E6117452DA8D}" destId="{EAD2BA70-62F8-4FC5-BBE2-CFD41126A637}" srcOrd="0" destOrd="0" presId="urn:microsoft.com/office/officeart/2005/8/layout/chevron2"/>
    <dgm:cxn modelId="{44FD27D0-EC29-4111-A0F7-EE66A70204C3}" type="presParOf" srcId="{9CC040C3-EA0D-463D-8E48-E6117452DA8D}" destId="{02FCC6AC-72FB-47AD-8313-F3C62EB6D6C4}" srcOrd="1" destOrd="0" presId="urn:microsoft.com/office/officeart/2005/8/layout/chevron2"/>
    <dgm:cxn modelId="{0B9FE0E6-D327-4E4D-8CB8-8BC3261CEB04}" type="presParOf" srcId="{2CB90B11-4213-4747-AAB2-473A61CFE0C3}" destId="{A33D9C66-7C8D-401E-B1B0-EFB70A3392FA}" srcOrd="1" destOrd="0" presId="urn:microsoft.com/office/officeart/2005/8/layout/chevron2"/>
    <dgm:cxn modelId="{6171B03E-4617-4A11-96C2-2FB182CFF105}" type="presParOf" srcId="{2CB90B11-4213-4747-AAB2-473A61CFE0C3}" destId="{940C3E99-1911-4D26-8A9A-00E99A0160A4}" srcOrd="2" destOrd="0" presId="urn:microsoft.com/office/officeart/2005/8/layout/chevron2"/>
    <dgm:cxn modelId="{05AAA3CC-B98E-48A2-9AF2-E3900009E5C2}" type="presParOf" srcId="{940C3E99-1911-4D26-8A9A-00E99A0160A4}" destId="{1842FDEB-BF27-49AE-A9FB-1523DC23C8F1}" srcOrd="0" destOrd="0" presId="urn:microsoft.com/office/officeart/2005/8/layout/chevron2"/>
    <dgm:cxn modelId="{E9BB295E-3E0B-4945-B3F5-3754EF8119C3}" type="presParOf" srcId="{940C3E99-1911-4D26-8A9A-00E99A0160A4}" destId="{82ADA1DC-1E84-482A-8A1C-52FEA4FEFFAB}" srcOrd="1" destOrd="0" presId="urn:microsoft.com/office/officeart/2005/8/layout/chevron2"/>
    <dgm:cxn modelId="{BD525B99-901A-46F6-9A50-EE1FE4CE05C5}" type="presParOf" srcId="{2CB90B11-4213-4747-AAB2-473A61CFE0C3}" destId="{EE367343-3EEF-4D09-9C68-437D828ADE9F}" srcOrd="3" destOrd="0" presId="urn:microsoft.com/office/officeart/2005/8/layout/chevron2"/>
    <dgm:cxn modelId="{76646C27-2160-4527-A836-DF0B3C2CA3D8}" type="presParOf" srcId="{2CB90B11-4213-4747-AAB2-473A61CFE0C3}" destId="{14339450-7BA6-4BC7-B1ED-799DF14A550E}" srcOrd="4" destOrd="0" presId="urn:microsoft.com/office/officeart/2005/8/layout/chevron2"/>
    <dgm:cxn modelId="{5AE554C4-5835-4B05-AB9D-BBDB03B08F7A}" type="presParOf" srcId="{14339450-7BA6-4BC7-B1ED-799DF14A550E}" destId="{D77B046B-15D0-467C-8877-7DECCE663973}" srcOrd="0" destOrd="0" presId="urn:microsoft.com/office/officeart/2005/8/layout/chevron2"/>
    <dgm:cxn modelId="{D29D8E4D-1D02-4CED-864E-22D226DB7712}" type="presParOf" srcId="{14339450-7BA6-4BC7-B1ED-799DF14A550E}" destId="{0CC52C94-2845-41B3-8975-27E6B4E5F41A}" srcOrd="1" destOrd="0" presId="urn:microsoft.com/office/officeart/2005/8/layout/chevron2"/>
    <dgm:cxn modelId="{FDD59140-DF57-4171-8586-1D689151862B}" type="presParOf" srcId="{2CB90B11-4213-4747-AAB2-473A61CFE0C3}" destId="{6A82455F-458A-4A13-8F6A-838B869BA771}" srcOrd="5" destOrd="0" presId="urn:microsoft.com/office/officeart/2005/8/layout/chevron2"/>
    <dgm:cxn modelId="{D2E4B33B-6ABA-4C5B-82CA-28B5F4646731}" type="presParOf" srcId="{2CB90B11-4213-4747-AAB2-473A61CFE0C3}" destId="{50BC603C-34A0-4202-86FE-41AB70F1FF9A}" srcOrd="6" destOrd="0" presId="urn:microsoft.com/office/officeart/2005/8/layout/chevron2"/>
    <dgm:cxn modelId="{8020685F-7E2F-4663-80F0-B33DDA138904}" type="presParOf" srcId="{50BC603C-34A0-4202-86FE-41AB70F1FF9A}" destId="{D39CA110-C122-40ED-868D-84B69081C9BD}" srcOrd="0" destOrd="0" presId="urn:microsoft.com/office/officeart/2005/8/layout/chevron2"/>
    <dgm:cxn modelId="{718A4E47-2CE5-4E02-ACC5-41C0D35F2B2F}" type="presParOf" srcId="{50BC603C-34A0-4202-86FE-41AB70F1FF9A}" destId="{2E45BA4A-B717-40E6-846E-844B025FB0A8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582E9D26-6E62-4EC0-BB1C-47C07C5F4A01}" type="doc">
      <dgm:prSet loTypeId="urn:microsoft.com/office/officeart/2005/8/layout/chevron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AE4832C1-7B34-44B8-A276-5D8C7079FDCE}">
      <dgm:prSet phldrT="[Текст]" custT="1"/>
      <dgm:spPr/>
      <dgm:t>
        <a:bodyPr/>
        <a:lstStyle/>
        <a:p>
          <a:r>
            <a:rPr lang="ru-RU" sz="2400" dirty="0" smtClean="0"/>
            <a:t>1</a:t>
          </a:r>
          <a:endParaRPr lang="ru-RU" sz="2400" dirty="0"/>
        </a:p>
      </dgm:t>
    </dgm:pt>
    <dgm:pt modelId="{93078FC4-D241-4280-9F47-6EA2225A86DA}" type="parTrans" cxnId="{442F8925-6EEF-404A-A279-6BE464DB0DE7}">
      <dgm:prSet/>
      <dgm:spPr/>
      <dgm:t>
        <a:bodyPr/>
        <a:lstStyle/>
        <a:p>
          <a:endParaRPr lang="ru-RU" sz="2400"/>
        </a:p>
      </dgm:t>
    </dgm:pt>
    <dgm:pt modelId="{AF70DDDB-9CE7-4493-8748-5E90D9570C05}" type="sibTrans" cxnId="{442F8925-6EEF-404A-A279-6BE464DB0DE7}">
      <dgm:prSet/>
      <dgm:spPr/>
      <dgm:t>
        <a:bodyPr/>
        <a:lstStyle/>
        <a:p>
          <a:endParaRPr lang="ru-RU" sz="2400"/>
        </a:p>
      </dgm:t>
    </dgm:pt>
    <dgm:pt modelId="{2EDAAC41-5362-42CC-A3AC-F28054B21834}">
      <dgm:prSet phldrT="[Текст]" custT="1"/>
      <dgm:spPr/>
      <dgm:t>
        <a:bodyPr/>
        <a:lstStyle/>
        <a:p>
          <a:r>
            <a:rPr lang="ru-RU" sz="1600" dirty="0" smtClean="0"/>
            <a:t>горизонт планирования составляет 8,5 лет;</a:t>
          </a:r>
          <a:endParaRPr lang="ru-RU" sz="1600" dirty="0"/>
        </a:p>
      </dgm:t>
    </dgm:pt>
    <dgm:pt modelId="{885C534F-C744-43B3-A4BD-F672D1E97D4F}" type="parTrans" cxnId="{E973BFBC-D9D6-4BFB-A94E-5636430D339A}">
      <dgm:prSet/>
      <dgm:spPr/>
      <dgm:t>
        <a:bodyPr/>
        <a:lstStyle/>
        <a:p>
          <a:endParaRPr lang="ru-RU" sz="2400"/>
        </a:p>
      </dgm:t>
    </dgm:pt>
    <dgm:pt modelId="{59EEF0B7-9E41-4E76-A5D2-B7FA81A04EDD}" type="sibTrans" cxnId="{E973BFBC-D9D6-4BFB-A94E-5636430D339A}">
      <dgm:prSet/>
      <dgm:spPr/>
      <dgm:t>
        <a:bodyPr/>
        <a:lstStyle/>
        <a:p>
          <a:endParaRPr lang="ru-RU" sz="2400"/>
        </a:p>
      </dgm:t>
    </dgm:pt>
    <dgm:pt modelId="{72E066A5-296C-4411-B58E-3ECA08445749}">
      <dgm:prSet custT="1"/>
      <dgm:spPr/>
      <dgm:t>
        <a:bodyPr/>
        <a:lstStyle/>
        <a:p>
          <a:r>
            <a:rPr lang="ru-RU" sz="1600" dirty="0" smtClean="0"/>
            <a:t>расчет произведен в российских рублях, в текущих ценах (с учетом индекса потребительских цен, а также индекса дефлятора на капитальные вложения);</a:t>
          </a:r>
          <a:endParaRPr lang="ru-RU" sz="1600" dirty="0"/>
        </a:p>
      </dgm:t>
    </dgm:pt>
    <dgm:pt modelId="{AB2EBF71-B8F0-449F-9BA1-3071C42CCFDA}" type="parTrans" cxnId="{02A7D1B5-E4A8-426D-B934-78E92A9D9522}">
      <dgm:prSet/>
      <dgm:spPr/>
      <dgm:t>
        <a:bodyPr/>
        <a:lstStyle/>
        <a:p>
          <a:endParaRPr lang="ru-RU" sz="2400"/>
        </a:p>
      </dgm:t>
    </dgm:pt>
    <dgm:pt modelId="{29EDD311-FEDE-4ED1-9CD3-4A98FBD38A45}" type="sibTrans" cxnId="{02A7D1B5-E4A8-426D-B934-78E92A9D9522}">
      <dgm:prSet/>
      <dgm:spPr/>
      <dgm:t>
        <a:bodyPr/>
        <a:lstStyle/>
        <a:p>
          <a:endParaRPr lang="ru-RU" sz="2400"/>
        </a:p>
      </dgm:t>
    </dgm:pt>
    <dgm:pt modelId="{4C0B64A7-45D8-44AB-A53C-AF78E64056F1}">
      <dgm:prSet custT="1"/>
      <dgm:spPr/>
      <dgm:t>
        <a:bodyPr/>
        <a:lstStyle/>
        <a:p>
          <a:r>
            <a:rPr lang="ru-RU" sz="1600" dirty="0" smtClean="0"/>
            <a:t>в расчете учитываются только денежные потоки Организаций, связанные с переводом ТС на КПГ;</a:t>
          </a:r>
          <a:endParaRPr lang="ru-RU" sz="1600" dirty="0"/>
        </a:p>
      </dgm:t>
    </dgm:pt>
    <dgm:pt modelId="{208CB580-E238-48D1-B846-17BDF10F5FE0}" type="parTrans" cxnId="{921CA342-6BC1-4177-BF5E-F325DD6940B7}">
      <dgm:prSet/>
      <dgm:spPr/>
      <dgm:t>
        <a:bodyPr/>
        <a:lstStyle/>
        <a:p>
          <a:endParaRPr lang="ru-RU" sz="2400"/>
        </a:p>
      </dgm:t>
    </dgm:pt>
    <dgm:pt modelId="{0675576C-8B93-46B2-BA63-925DA264B2D8}" type="sibTrans" cxnId="{921CA342-6BC1-4177-BF5E-F325DD6940B7}">
      <dgm:prSet/>
      <dgm:spPr/>
      <dgm:t>
        <a:bodyPr/>
        <a:lstStyle/>
        <a:p>
          <a:endParaRPr lang="ru-RU" sz="2400"/>
        </a:p>
      </dgm:t>
    </dgm:pt>
    <dgm:pt modelId="{39376216-2F0B-4C80-B027-59CC1FEA3746}">
      <dgm:prSet custT="1"/>
      <dgm:spPr/>
      <dgm:t>
        <a:bodyPr/>
        <a:lstStyle/>
        <a:p>
          <a:r>
            <a:rPr lang="ru-RU" sz="1600" dirty="0" smtClean="0"/>
            <a:t>расчет осуществлен исходя из предположения о переводе автопарка Организаций на КПГ в соответствии с целевыми показателями по закупке ГБА и переоборудованию существующего в собственности автопарка на КПГ в 2018–2020 годах.</a:t>
          </a:r>
          <a:endParaRPr lang="ru-RU" sz="1600" dirty="0"/>
        </a:p>
      </dgm:t>
    </dgm:pt>
    <dgm:pt modelId="{959BF16B-ADAC-407F-A1C1-34602C971A78}" type="parTrans" cxnId="{6A850122-D7AB-42DD-A3B8-FDA072F0475D}">
      <dgm:prSet/>
      <dgm:spPr/>
      <dgm:t>
        <a:bodyPr/>
        <a:lstStyle/>
        <a:p>
          <a:endParaRPr lang="ru-RU" sz="2400"/>
        </a:p>
      </dgm:t>
    </dgm:pt>
    <dgm:pt modelId="{054FD26F-5F8A-4073-B2A7-D40AEEE4A1C0}" type="sibTrans" cxnId="{6A850122-D7AB-42DD-A3B8-FDA072F0475D}">
      <dgm:prSet/>
      <dgm:spPr/>
      <dgm:t>
        <a:bodyPr/>
        <a:lstStyle/>
        <a:p>
          <a:endParaRPr lang="ru-RU" sz="2400"/>
        </a:p>
      </dgm:t>
    </dgm:pt>
    <dgm:pt modelId="{14413C33-0FD0-4575-B5A2-5D1979DCC3E7}">
      <dgm:prSet phldrT="[Текст]" custT="1"/>
      <dgm:spPr/>
      <dgm:t>
        <a:bodyPr/>
        <a:lstStyle/>
        <a:p>
          <a:r>
            <a:rPr lang="ru-RU" sz="1600" dirty="0" smtClean="0"/>
            <a:t>шаг расчета – 1 год;</a:t>
          </a:r>
          <a:endParaRPr lang="ru-RU" sz="1600" dirty="0"/>
        </a:p>
      </dgm:t>
    </dgm:pt>
    <dgm:pt modelId="{D922C90E-B567-475A-9755-611B2F6D46D9}" type="parTrans" cxnId="{6177E254-46C2-4771-ABE4-B72C6E73E2D9}">
      <dgm:prSet/>
      <dgm:spPr/>
      <dgm:t>
        <a:bodyPr/>
        <a:lstStyle/>
        <a:p>
          <a:endParaRPr lang="ru-RU" sz="2400"/>
        </a:p>
      </dgm:t>
    </dgm:pt>
    <dgm:pt modelId="{211DA23A-5209-41C1-A1B3-279BB04631DD}" type="sibTrans" cxnId="{6177E254-46C2-4771-ABE4-B72C6E73E2D9}">
      <dgm:prSet/>
      <dgm:spPr/>
      <dgm:t>
        <a:bodyPr/>
        <a:lstStyle/>
        <a:p>
          <a:endParaRPr lang="ru-RU" sz="2400"/>
        </a:p>
      </dgm:t>
    </dgm:pt>
    <dgm:pt modelId="{2BAD6AFB-408F-4E02-BD94-9C64C411FEAB}">
      <dgm:prSet phldrT="[Текст]" custT="1"/>
      <dgm:spPr/>
      <dgm:t>
        <a:bodyPr/>
        <a:lstStyle/>
        <a:p>
          <a:r>
            <a:rPr lang="ru-RU" sz="2400" dirty="0" smtClean="0"/>
            <a:t>2</a:t>
          </a:r>
          <a:endParaRPr lang="ru-RU" sz="2400" dirty="0"/>
        </a:p>
      </dgm:t>
    </dgm:pt>
    <dgm:pt modelId="{DCF4B4DE-813A-48D9-A3FB-BD9E9E7CF055}" type="parTrans" cxnId="{1638C1D3-DE98-4259-8C44-418439889D8C}">
      <dgm:prSet/>
      <dgm:spPr/>
      <dgm:t>
        <a:bodyPr/>
        <a:lstStyle/>
        <a:p>
          <a:endParaRPr lang="ru-RU" sz="2400"/>
        </a:p>
      </dgm:t>
    </dgm:pt>
    <dgm:pt modelId="{0D31BFEA-9A1F-473E-A66D-8C2FEE24787A}" type="sibTrans" cxnId="{1638C1D3-DE98-4259-8C44-418439889D8C}">
      <dgm:prSet/>
      <dgm:spPr/>
      <dgm:t>
        <a:bodyPr/>
        <a:lstStyle/>
        <a:p>
          <a:endParaRPr lang="ru-RU" sz="2400"/>
        </a:p>
      </dgm:t>
    </dgm:pt>
    <dgm:pt modelId="{BFEABE4F-83AE-4816-9619-CE7B21DD2A7C}">
      <dgm:prSet custT="1"/>
      <dgm:spPr/>
      <dgm:t>
        <a:bodyPr/>
        <a:lstStyle/>
        <a:p>
          <a:r>
            <a:rPr lang="ru-RU" sz="2400" dirty="0" smtClean="0"/>
            <a:t>3</a:t>
          </a:r>
          <a:endParaRPr lang="ru-RU" sz="2400" dirty="0"/>
        </a:p>
      </dgm:t>
    </dgm:pt>
    <dgm:pt modelId="{40A46190-F74F-410E-9895-12EB8D5C7BD6}" type="parTrans" cxnId="{0B1732C4-5607-4A6F-A54A-70C6DE8B60EA}">
      <dgm:prSet/>
      <dgm:spPr/>
      <dgm:t>
        <a:bodyPr/>
        <a:lstStyle/>
        <a:p>
          <a:endParaRPr lang="ru-RU" sz="2400"/>
        </a:p>
      </dgm:t>
    </dgm:pt>
    <dgm:pt modelId="{6EDC5F72-1EA7-42FC-A9B2-398DAB0B6E93}" type="sibTrans" cxnId="{0B1732C4-5607-4A6F-A54A-70C6DE8B60EA}">
      <dgm:prSet/>
      <dgm:spPr/>
      <dgm:t>
        <a:bodyPr/>
        <a:lstStyle/>
        <a:p>
          <a:endParaRPr lang="ru-RU" sz="2400"/>
        </a:p>
      </dgm:t>
    </dgm:pt>
    <dgm:pt modelId="{03D96332-366F-46C1-A759-82677CDD724A}">
      <dgm:prSet custT="1"/>
      <dgm:spPr/>
      <dgm:t>
        <a:bodyPr/>
        <a:lstStyle/>
        <a:p>
          <a:r>
            <a:rPr lang="ru-RU" sz="2400" dirty="0" smtClean="0"/>
            <a:t>4</a:t>
          </a:r>
          <a:endParaRPr lang="ru-RU" sz="2400" dirty="0"/>
        </a:p>
      </dgm:t>
    </dgm:pt>
    <dgm:pt modelId="{4439BF5F-0503-4DA0-9139-82B5FCB03ADB}" type="parTrans" cxnId="{A64D9908-066F-4A07-B381-FB8044892C24}">
      <dgm:prSet/>
      <dgm:spPr/>
      <dgm:t>
        <a:bodyPr/>
        <a:lstStyle/>
        <a:p>
          <a:endParaRPr lang="ru-RU" sz="2400"/>
        </a:p>
      </dgm:t>
    </dgm:pt>
    <dgm:pt modelId="{2CD08877-9C6B-4434-9A36-9D81B1956B46}" type="sibTrans" cxnId="{A64D9908-066F-4A07-B381-FB8044892C24}">
      <dgm:prSet/>
      <dgm:spPr/>
      <dgm:t>
        <a:bodyPr/>
        <a:lstStyle/>
        <a:p>
          <a:endParaRPr lang="ru-RU" sz="2400"/>
        </a:p>
      </dgm:t>
    </dgm:pt>
    <dgm:pt modelId="{8B504E6C-7C76-4A72-8DB7-6037BB295133}">
      <dgm:prSet custT="1"/>
      <dgm:spPr/>
      <dgm:t>
        <a:bodyPr/>
        <a:lstStyle/>
        <a:p>
          <a:r>
            <a:rPr lang="ru-RU" sz="2400" dirty="0" smtClean="0"/>
            <a:t>5</a:t>
          </a:r>
          <a:endParaRPr lang="ru-RU" sz="2400" dirty="0"/>
        </a:p>
      </dgm:t>
    </dgm:pt>
    <dgm:pt modelId="{93D8513B-DE93-477D-936E-27F122A80A55}" type="parTrans" cxnId="{DD101D50-DD18-4BBA-9521-BF70A2053AB9}">
      <dgm:prSet/>
      <dgm:spPr/>
      <dgm:t>
        <a:bodyPr/>
        <a:lstStyle/>
        <a:p>
          <a:endParaRPr lang="ru-RU" sz="2400"/>
        </a:p>
      </dgm:t>
    </dgm:pt>
    <dgm:pt modelId="{E553B4B5-0B9E-4995-BCC6-B275F2F7E022}" type="sibTrans" cxnId="{DD101D50-DD18-4BBA-9521-BF70A2053AB9}">
      <dgm:prSet/>
      <dgm:spPr/>
      <dgm:t>
        <a:bodyPr/>
        <a:lstStyle/>
        <a:p>
          <a:endParaRPr lang="ru-RU" sz="2400"/>
        </a:p>
      </dgm:t>
    </dgm:pt>
    <dgm:pt modelId="{A06D1E65-C32D-4F4C-A676-1B54EFA0474B}" type="pres">
      <dgm:prSet presAssocID="{582E9D26-6E62-4EC0-BB1C-47C07C5F4A01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F0F2924-65C4-418D-B4D7-B6D21F0CB4FE}" type="pres">
      <dgm:prSet presAssocID="{AE4832C1-7B34-44B8-A276-5D8C7079FDCE}" presName="composite" presStyleCnt="0"/>
      <dgm:spPr/>
    </dgm:pt>
    <dgm:pt modelId="{A3C0A30F-D3EE-4237-B0CE-CECEA0C879D5}" type="pres">
      <dgm:prSet presAssocID="{AE4832C1-7B34-44B8-A276-5D8C7079FDCE}" presName="parentText" presStyleLbl="align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DDF28B9-5F46-45C9-9E6E-A8ACCEB65707}" type="pres">
      <dgm:prSet presAssocID="{AE4832C1-7B34-44B8-A276-5D8C7079FDCE}" presName="descendantText" presStyleLbl="alignAcc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B5218DD-1C04-45FC-AAB0-CC73663FB802}" type="pres">
      <dgm:prSet presAssocID="{AF70DDDB-9CE7-4493-8748-5E90D9570C05}" presName="sp" presStyleCnt="0"/>
      <dgm:spPr/>
    </dgm:pt>
    <dgm:pt modelId="{88176143-C408-4A06-B331-97BB6464A160}" type="pres">
      <dgm:prSet presAssocID="{2BAD6AFB-408F-4E02-BD94-9C64C411FEAB}" presName="composite" presStyleCnt="0"/>
      <dgm:spPr/>
    </dgm:pt>
    <dgm:pt modelId="{88F02DB1-820B-4D2A-A676-9310C2D54B52}" type="pres">
      <dgm:prSet presAssocID="{2BAD6AFB-408F-4E02-BD94-9C64C411FEAB}" presName="parentText" presStyleLbl="align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6E56EA0-639D-4B83-AEB8-2ABE2E4F520C}" type="pres">
      <dgm:prSet presAssocID="{2BAD6AFB-408F-4E02-BD94-9C64C411FEAB}" presName="descendantText" presStyleLbl="alignAcc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A663861-E886-4AB5-9871-E9BD5A57C9EA}" type="pres">
      <dgm:prSet presAssocID="{0D31BFEA-9A1F-473E-A66D-8C2FEE24787A}" presName="sp" presStyleCnt="0"/>
      <dgm:spPr/>
    </dgm:pt>
    <dgm:pt modelId="{F44B2840-0824-4543-ACAC-B41F66F5C491}" type="pres">
      <dgm:prSet presAssocID="{BFEABE4F-83AE-4816-9619-CE7B21DD2A7C}" presName="composite" presStyleCnt="0"/>
      <dgm:spPr/>
    </dgm:pt>
    <dgm:pt modelId="{CD162000-4DA4-4145-9556-EE57EB6B16CE}" type="pres">
      <dgm:prSet presAssocID="{BFEABE4F-83AE-4816-9619-CE7B21DD2A7C}" presName="parentText" presStyleLbl="align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FBEFE16-3B14-4F93-9432-25A69E680623}" type="pres">
      <dgm:prSet presAssocID="{BFEABE4F-83AE-4816-9619-CE7B21DD2A7C}" presName="descendantText" presStyleLbl="alignAcc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E74EE91-63FB-42B6-B5B2-B5477AD336CE}" type="pres">
      <dgm:prSet presAssocID="{6EDC5F72-1EA7-42FC-A9B2-398DAB0B6E93}" presName="sp" presStyleCnt="0"/>
      <dgm:spPr/>
    </dgm:pt>
    <dgm:pt modelId="{F27F2773-16DA-45D4-9A4E-4E52D737E6DB}" type="pres">
      <dgm:prSet presAssocID="{03D96332-366F-46C1-A759-82677CDD724A}" presName="composite" presStyleCnt="0"/>
      <dgm:spPr/>
    </dgm:pt>
    <dgm:pt modelId="{D3E0907C-1E8C-4A70-914D-B79D72BD6014}" type="pres">
      <dgm:prSet presAssocID="{03D96332-366F-46C1-A759-82677CDD724A}" presName="parentText" presStyleLbl="align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ED8E01-958D-434E-B2F7-3678E05478F9}" type="pres">
      <dgm:prSet presAssocID="{03D96332-366F-46C1-A759-82677CDD724A}" presName="descendantText" presStyleLbl="alignAcc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6C11C5-8E00-4327-94F1-89AFBE05A08A}" type="pres">
      <dgm:prSet presAssocID="{2CD08877-9C6B-4434-9A36-9D81B1956B46}" presName="sp" presStyleCnt="0"/>
      <dgm:spPr/>
    </dgm:pt>
    <dgm:pt modelId="{B08D2C9F-A151-4F40-BE67-6CD228C9C54F}" type="pres">
      <dgm:prSet presAssocID="{8B504E6C-7C76-4A72-8DB7-6037BB295133}" presName="composite" presStyleCnt="0"/>
      <dgm:spPr/>
    </dgm:pt>
    <dgm:pt modelId="{27F0DAC5-9C07-49FB-B355-BAA12498ACEE}" type="pres">
      <dgm:prSet presAssocID="{8B504E6C-7C76-4A72-8DB7-6037BB295133}" presName="parentText" presStyleLbl="align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F938481-B3BA-4B5E-A4D8-3E47948F39AA}" type="pres">
      <dgm:prSet presAssocID="{8B504E6C-7C76-4A72-8DB7-6037BB295133}" presName="descendantText" presStyleLbl="alignAcc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B1732C4-5607-4A6F-A54A-70C6DE8B60EA}" srcId="{582E9D26-6E62-4EC0-BB1C-47C07C5F4A01}" destId="{BFEABE4F-83AE-4816-9619-CE7B21DD2A7C}" srcOrd="2" destOrd="0" parTransId="{40A46190-F74F-410E-9895-12EB8D5C7BD6}" sibTransId="{6EDC5F72-1EA7-42FC-A9B2-398DAB0B6E93}"/>
    <dgm:cxn modelId="{C8DC57BB-C540-47C2-A979-22AC9E32EC22}" type="presOf" srcId="{AE4832C1-7B34-44B8-A276-5D8C7079FDCE}" destId="{A3C0A30F-D3EE-4237-B0CE-CECEA0C879D5}" srcOrd="0" destOrd="0" presId="urn:microsoft.com/office/officeart/2005/8/layout/chevron2"/>
    <dgm:cxn modelId="{442F8925-6EEF-404A-A279-6BE464DB0DE7}" srcId="{582E9D26-6E62-4EC0-BB1C-47C07C5F4A01}" destId="{AE4832C1-7B34-44B8-A276-5D8C7079FDCE}" srcOrd="0" destOrd="0" parTransId="{93078FC4-D241-4280-9F47-6EA2225A86DA}" sibTransId="{AF70DDDB-9CE7-4493-8748-5E90D9570C05}"/>
    <dgm:cxn modelId="{4537490B-C714-471D-8564-2F07867C57F6}" type="presOf" srcId="{4C0B64A7-45D8-44AB-A53C-AF78E64056F1}" destId="{EDED8E01-958D-434E-B2F7-3678E05478F9}" srcOrd="0" destOrd="0" presId="urn:microsoft.com/office/officeart/2005/8/layout/chevron2"/>
    <dgm:cxn modelId="{921CA342-6BC1-4177-BF5E-F325DD6940B7}" srcId="{03D96332-366F-46C1-A759-82677CDD724A}" destId="{4C0B64A7-45D8-44AB-A53C-AF78E64056F1}" srcOrd="0" destOrd="0" parTransId="{208CB580-E238-48D1-B846-17BDF10F5FE0}" sibTransId="{0675576C-8B93-46B2-BA63-925DA264B2D8}"/>
    <dgm:cxn modelId="{BB8A0C5A-7F4D-44FD-A101-05EEECAAF7FB}" type="presOf" srcId="{BFEABE4F-83AE-4816-9619-CE7B21DD2A7C}" destId="{CD162000-4DA4-4145-9556-EE57EB6B16CE}" srcOrd="0" destOrd="0" presId="urn:microsoft.com/office/officeart/2005/8/layout/chevron2"/>
    <dgm:cxn modelId="{1638C1D3-DE98-4259-8C44-418439889D8C}" srcId="{582E9D26-6E62-4EC0-BB1C-47C07C5F4A01}" destId="{2BAD6AFB-408F-4E02-BD94-9C64C411FEAB}" srcOrd="1" destOrd="0" parTransId="{DCF4B4DE-813A-48D9-A3FB-BD9E9E7CF055}" sibTransId="{0D31BFEA-9A1F-473E-A66D-8C2FEE24787A}"/>
    <dgm:cxn modelId="{6A850122-D7AB-42DD-A3B8-FDA072F0475D}" srcId="{8B504E6C-7C76-4A72-8DB7-6037BB295133}" destId="{39376216-2F0B-4C80-B027-59CC1FEA3746}" srcOrd="0" destOrd="0" parTransId="{959BF16B-ADAC-407F-A1C1-34602C971A78}" sibTransId="{054FD26F-5F8A-4073-B2A7-D40AEEE4A1C0}"/>
    <dgm:cxn modelId="{1FEBEDB4-6429-4C9B-9E46-A48609975CD5}" type="presOf" srcId="{2EDAAC41-5362-42CC-A3AC-F28054B21834}" destId="{6DDF28B9-5F46-45C9-9E6E-A8ACCEB65707}" srcOrd="0" destOrd="0" presId="urn:microsoft.com/office/officeart/2005/8/layout/chevron2"/>
    <dgm:cxn modelId="{6177E254-46C2-4771-ABE4-B72C6E73E2D9}" srcId="{2BAD6AFB-408F-4E02-BD94-9C64C411FEAB}" destId="{14413C33-0FD0-4575-B5A2-5D1979DCC3E7}" srcOrd="0" destOrd="0" parTransId="{D922C90E-B567-475A-9755-611B2F6D46D9}" sibTransId="{211DA23A-5209-41C1-A1B3-279BB04631DD}"/>
    <dgm:cxn modelId="{19184A0C-45C2-41B0-BE15-F733579F0EFF}" type="presOf" srcId="{582E9D26-6E62-4EC0-BB1C-47C07C5F4A01}" destId="{A06D1E65-C32D-4F4C-A676-1B54EFA0474B}" srcOrd="0" destOrd="0" presId="urn:microsoft.com/office/officeart/2005/8/layout/chevron2"/>
    <dgm:cxn modelId="{5231AF63-9535-4F85-9497-82E48FE75BFD}" type="presOf" srcId="{72E066A5-296C-4411-B58E-3ECA08445749}" destId="{5FBEFE16-3B14-4F93-9432-25A69E680623}" srcOrd="0" destOrd="0" presId="urn:microsoft.com/office/officeart/2005/8/layout/chevron2"/>
    <dgm:cxn modelId="{E973BFBC-D9D6-4BFB-A94E-5636430D339A}" srcId="{AE4832C1-7B34-44B8-A276-5D8C7079FDCE}" destId="{2EDAAC41-5362-42CC-A3AC-F28054B21834}" srcOrd="0" destOrd="0" parTransId="{885C534F-C744-43B3-A4BD-F672D1E97D4F}" sibTransId="{59EEF0B7-9E41-4E76-A5D2-B7FA81A04EDD}"/>
    <dgm:cxn modelId="{CCF321BF-DA60-420C-A491-E9E9BAA5FDC6}" type="presOf" srcId="{8B504E6C-7C76-4A72-8DB7-6037BB295133}" destId="{27F0DAC5-9C07-49FB-B355-BAA12498ACEE}" srcOrd="0" destOrd="0" presId="urn:microsoft.com/office/officeart/2005/8/layout/chevron2"/>
    <dgm:cxn modelId="{A64D9908-066F-4A07-B381-FB8044892C24}" srcId="{582E9D26-6E62-4EC0-BB1C-47C07C5F4A01}" destId="{03D96332-366F-46C1-A759-82677CDD724A}" srcOrd="3" destOrd="0" parTransId="{4439BF5F-0503-4DA0-9139-82B5FCB03ADB}" sibTransId="{2CD08877-9C6B-4434-9A36-9D81B1956B46}"/>
    <dgm:cxn modelId="{2EE28C7D-70E2-46A2-8FFF-F499AB626751}" type="presOf" srcId="{39376216-2F0B-4C80-B027-59CC1FEA3746}" destId="{5F938481-B3BA-4B5E-A4D8-3E47948F39AA}" srcOrd="0" destOrd="0" presId="urn:microsoft.com/office/officeart/2005/8/layout/chevron2"/>
    <dgm:cxn modelId="{032A4721-9A92-45D7-AC82-D7E09475A174}" type="presOf" srcId="{2BAD6AFB-408F-4E02-BD94-9C64C411FEAB}" destId="{88F02DB1-820B-4D2A-A676-9310C2D54B52}" srcOrd="0" destOrd="0" presId="urn:microsoft.com/office/officeart/2005/8/layout/chevron2"/>
    <dgm:cxn modelId="{7F8D16C5-BCC8-408D-95D9-06A7A491CCCC}" type="presOf" srcId="{14413C33-0FD0-4575-B5A2-5D1979DCC3E7}" destId="{F6E56EA0-639D-4B83-AEB8-2ABE2E4F520C}" srcOrd="0" destOrd="0" presId="urn:microsoft.com/office/officeart/2005/8/layout/chevron2"/>
    <dgm:cxn modelId="{02A7D1B5-E4A8-426D-B934-78E92A9D9522}" srcId="{BFEABE4F-83AE-4816-9619-CE7B21DD2A7C}" destId="{72E066A5-296C-4411-B58E-3ECA08445749}" srcOrd="0" destOrd="0" parTransId="{AB2EBF71-B8F0-449F-9BA1-3071C42CCFDA}" sibTransId="{29EDD311-FEDE-4ED1-9CD3-4A98FBD38A45}"/>
    <dgm:cxn modelId="{B3F9EDFB-FBEB-41ED-9883-96D1F5B2DA3E}" type="presOf" srcId="{03D96332-366F-46C1-A759-82677CDD724A}" destId="{D3E0907C-1E8C-4A70-914D-B79D72BD6014}" srcOrd="0" destOrd="0" presId="urn:microsoft.com/office/officeart/2005/8/layout/chevron2"/>
    <dgm:cxn modelId="{DD101D50-DD18-4BBA-9521-BF70A2053AB9}" srcId="{582E9D26-6E62-4EC0-BB1C-47C07C5F4A01}" destId="{8B504E6C-7C76-4A72-8DB7-6037BB295133}" srcOrd="4" destOrd="0" parTransId="{93D8513B-DE93-477D-936E-27F122A80A55}" sibTransId="{E553B4B5-0B9E-4995-BCC6-B275F2F7E022}"/>
    <dgm:cxn modelId="{995E0BA1-3BBC-46EE-9B47-DFC65B4B2584}" type="presParOf" srcId="{A06D1E65-C32D-4F4C-A676-1B54EFA0474B}" destId="{0F0F2924-65C4-418D-B4D7-B6D21F0CB4FE}" srcOrd="0" destOrd="0" presId="urn:microsoft.com/office/officeart/2005/8/layout/chevron2"/>
    <dgm:cxn modelId="{77DE97BB-5469-4C7A-A092-74AA0407D201}" type="presParOf" srcId="{0F0F2924-65C4-418D-B4D7-B6D21F0CB4FE}" destId="{A3C0A30F-D3EE-4237-B0CE-CECEA0C879D5}" srcOrd="0" destOrd="0" presId="urn:microsoft.com/office/officeart/2005/8/layout/chevron2"/>
    <dgm:cxn modelId="{E889CA71-B375-482B-B4EE-5AD5A719A930}" type="presParOf" srcId="{0F0F2924-65C4-418D-B4D7-B6D21F0CB4FE}" destId="{6DDF28B9-5F46-45C9-9E6E-A8ACCEB65707}" srcOrd="1" destOrd="0" presId="urn:microsoft.com/office/officeart/2005/8/layout/chevron2"/>
    <dgm:cxn modelId="{A3A151C5-3E2F-467D-96A7-B5D763CA2692}" type="presParOf" srcId="{A06D1E65-C32D-4F4C-A676-1B54EFA0474B}" destId="{9B5218DD-1C04-45FC-AAB0-CC73663FB802}" srcOrd="1" destOrd="0" presId="urn:microsoft.com/office/officeart/2005/8/layout/chevron2"/>
    <dgm:cxn modelId="{DA0BB46E-17A3-42CA-9301-5364992D0722}" type="presParOf" srcId="{A06D1E65-C32D-4F4C-A676-1B54EFA0474B}" destId="{88176143-C408-4A06-B331-97BB6464A160}" srcOrd="2" destOrd="0" presId="urn:microsoft.com/office/officeart/2005/8/layout/chevron2"/>
    <dgm:cxn modelId="{88326827-43D8-46B5-8F56-4B9427DD5A67}" type="presParOf" srcId="{88176143-C408-4A06-B331-97BB6464A160}" destId="{88F02DB1-820B-4D2A-A676-9310C2D54B52}" srcOrd="0" destOrd="0" presId="urn:microsoft.com/office/officeart/2005/8/layout/chevron2"/>
    <dgm:cxn modelId="{B8A7F2F4-5AD1-44B6-8395-0AA7F7C9C2A7}" type="presParOf" srcId="{88176143-C408-4A06-B331-97BB6464A160}" destId="{F6E56EA0-639D-4B83-AEB8-2ABE2E4F520C}" srcOrd="1" destOrd="0" presId="urn:microsoft.com/office/officeart/2005/8/layout/chevron2"/>
    <dgm:cxn modelId="{410E9879-3C34-450A-A70C-CE298CC9892F}" type="presParOf" srcId="{A06D1E65-C32D-4F4C-A676-1B54EFA0474B}" destId="{DA663861-E886-4AB5-9871-E9BD5A57C9EA}" srcOrd="3" destOrd="0" presId="urn:microsoft.com/office/officeart/2005/8/layout/chevron2"/>
    <dgm:cxn modelId="{11A60D6D-FE9C-4BE9-8B59-1B5132EEC169}" type="presParOf" srcId="{A06D1E65-C32D-4F4C-A676-1B54EFA0474B}" destId="{F44B2840-0824-4543-ACAC-B41F66F5C491}" srcOrd="4" destOrd="0" presId="urn:microsoft.com/office/officeart/2005/8/layout/chevron2"/>
    <dgm:cxn modelId="{27A166EF-DD39-4DB7-B8EF-298394D399DA}" type="presParOf" srcId="{F44B2840-0824-4543-ACAC-B41F66F5C491}" destId="{CD162000-4DA4-4145-9556-EE57EB6B16CE}" srcOrd="0" destOrd="0" presId="urn:microsoft.com/office/officeart/2005/8/layout/chevron2"/>
    <dgm:cxn modelId="{05E2E2D5-A2D1-404B-9121-B816EE4D0170}" type="presParOf" srcId="{F44B2840-0824-4543-ACAC-B41F66F5C491}" destId="{5FBEFE16-3B14-4F93-9432-25A69E680623}" srcOrd="1" destOrd="0" presId="urn:microsoft.com/office/officeart/2005/8/layout/chevron2"/>
    <dgm:cxn modelId="{AAD9822D-BC3D-4FDA-8086-A22A372D64C3}" type="presParOf" srcId="{A06D1E65-C32D-4F4C-A676-1B54EFA0474B}" destId="{1E74EE91-63FB-42B6-B5B2-B5477AD336CE}" srcOrd="5" destOrd="0" presId="urn:microsoft.com/office/officeart/2005/8/layout/chevron2"/>
    <dgm:cxn modelId="{6C0D0CCE-B4DB-4357-A266-2FAC75B11311}" type="presParOf" srcId="{A06D1E65-C32D-4F4C-A676-1B54EFA0474B}" destId="{F27F2773-16DA-45D4-9A4E-4E52D737E6DB}" srcOrd="6" destOrd="0" presId="urn:microsoft.com/office/officeart/2005/8/layout/chevron2"/>
    <dgm:cxn modelId="{CA77038E-5B9C-40D1-9772-7A9A306DA4E3}" type="presParOf" srcId="{F27F2773-16DA-45D4-9A4E-4E52D737E6DB}" destId="{D3E0907C-1E8C-4A70-914D-B79D72BD6014}" srcOrd="0" destOrd="0" presId="urn:microsoft.com/office/officeart/2005/8/layout/chevron2"/>
    <dgm:cxn modelId="{40AC801E-D34C-4F20-89CA-5EB1AAF40811}" type="presParOf" srcId="{F27F2773-16DA-45D4-9A4E-4E52D737E6DB}" destId="{EDED8E01-958D-434E-B2F7-3678E05478F9}" srcOrd="1" destOrd="0" presId="urn:microsoft.com/office/officeart/2005/8/layout/chevron2"/>
    <dgm:cxn modelId="{90BADA62-6930-4BCA-A08A-4702FEE7E0F0}" type="presParOf" srcId="{A06D1E65-C32D-4F4C-A676-1B54EFA0474B}" destId="{986C11C5-8E00-4327-94F1-89AFBE05A08A}" srcOrd="7" destOrd="0" presId="urn:microsoft.com/office/officeart/2005/8/layout/chevron2"/>
    <dgm:cxn modelId="{F492D8E2-AD24-4E81-B16E-A69C57C55886}" type="presParOf" srcId="{A06D1E65-C32D-4F4C-A676-1B54EFA0474B}" destId="{B08D2C9F-A151-4F40-BE67-6CD228C9C54F}" srcOrd="8" destOrd="0" presId="urn:microsoft.com/office/officeart/2005/8/layout/chevron2"/>
    <dgm:cxn modelId="{EE72F0CF-F72B-4ECE-B115-3E9C3A0F3E4E}" type="presParOf" srcId="{B08D2C9F-A151-4F40-BE67-6CD228C9C54F}" destId="{27F0DAC5-9C07-49FB-B355-BAA12498ACEE}" srcOrd="0" destOrd="0" presId="urn:microsoft.com/office/officeart/2005/8/layout/chevron2"/>
    <dgm:cxn modelId="{5CD128D9-E634-46A9-96B2-3488608F2176}" type="presParOf" srcId="{B08D2C9F-A151-4F40-BE67-6CD228C9C54F}" destId="{5F938481-B3BA-4B5E-A4D8-3E47948F39AA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4E975994-E9A3-425B-80EA-447AA120D28B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958EDB3-17A7-4CD8-BF1E-960F154F0B83}">
      <dgm:prSet phldrT="[Текст]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dirty="0" smtClean="0"/>
            <a:t>расходы на приобретение ГБА</a:t>
          </a:r>
          <a:endParaRPr lang="ru-RU" dirty="0"/>
        </a:p>
      </dgm:t>
    </dgm:pt>
    <dgm:pt modelId="{B296D4BD-C2F2-4B25-B1B3-AABBA1F6C636}" type="parTrans" cxnId="{775671AD-6DE5-4710-8B77-A2BCD77EED40}">
      <dgm:prSet/>
      <dgm:spPr/>
      <dgm:t>
        <a:bodyPr/>
        <a:lstStyle/>
        <a:p>
          <a:endParaRPr lang="ru-RU"/>
        </a:p>
      </dgm:t>
    </dgm:pt>
    <dgm:pt modelId="{FC7B765E-5833-41A5-A80C-2813E75A3CC5}" type="sibTrans" cxnId="{775671AD-6DE5-4710-8B77-A2BCD77EED40}">
      <dgm:prSet/>
      <dgm:spPr/>
      <dgm:t>
        <a:bodyPr/>
        <a:lstStyle/>
        <a:p>
          <a:endParaRPr lang="ru-RU"/>
        </a:p>
      </dgm:t>
    </dgm:pt>
    <dgm:pt modelId="{C903A557-5523-4B7D-A9FC-F28EF0931B6B}">
      <dgm:prSet phldrT="[Текст]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dirty="0" smtClean="0"/>
            <a:t>расходы на переоборудование существующего собственного автопарка на КПГ</a:t>
          </a:r>
          <a:endParaRPr lang="ru-RU" dirty="0"/>
        </a:p>
      </dgm:t>
    </dgm:pt>
    <dgm:pt modelId="{33CFE058-94CF-4887-A5E3-02BA7EB8571C}" type="parTrans" cxnId="{1AFA0A79-F9CE-490B-978D-FB9F4554D7F8}">
      <dgm:prSet/>
      <dgm:spPr/>
      <dgm:t>
        <a:bodyPr/>
        <a:lstStyle/>
        <a:p>
          <a:endParaRPr lang="ru-RU"/>
        </a:p>
      </dgm:t>
    </dgm:pt>
    <dgm:pt modelId="{DEAB65BA-C62F-4477-B1CE-04632A437D51}" type="sibTrans" cxnId="{1AFA0A79-F9CE-490B-978D-FB9F4554D7F8}">
      <dgm:prSet/>
      <dgm:spPr/>
      <dgm:t>
        <a:bodyPr/>
        <a:lstStyle/>
        <a:p>
          <a:endParaRPr lang="ru-RU"/>
        </a:p>
      </dgm:t>
    </dgm:pt>
    <dgm:pt modelId="{25FCC399-2635-420B-943C-BCF924C83E08}">
      <dgm:prSet phldrT="[Текст]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dirty="0" smtClean="0"/>
            <a:t>затраты на переоснащение стоянок автотранспорта</a:t>
          </a:r>
          <a:endParaRPr lang="ru-RU" dirty="0"/>
        </a:p>
      </dgm:t>
    </dgm:pt>
    <dgm:pt modelId="{BFC92DDD-490B-4352-AD5D-A3091D830E0F}" type="parTrans" cxnId="{A7D76983-0CA3-4E7A-9131-58D466E86BEF}">
      <dgm:prSet/>
      <dgm:spPr/>
      <dgm:t>
        <a:bodyPr/>
        <a:lstStyle/>
        <a:p>
          <a:endParaRPr lang="ru-RU"/>
        </a:p>
      </dgm:t>
    </dgm:pt>
    <dgm:pt modelId="{18074A36-8A43-4759-B4D0-03D2A1C86220}" type="sibTrans" cxnId="{A7D76983-0CA3-4E7A-9131-58D466E86BEF}">
      <dgm:prSet/>
      <dgm:spPr/>
      <dgm:t>
        <a:bodyPr/>
        <a:lstStyle/>
        <a:p>
          <a:endParaRPr lang="ru-RU"/>
        </a:p>
      </dgm:t>
    </dgm:pt>
    <dgm:pt modelId="{E37FC509-7F7C-43E9-8B9D-584A0B801BDB}">
      <dgm:prSet phldrT="[Текст]">
        <dgm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dirty="0" smtClean="0"/>
            <a:t>затраты на обучение персонала </a:t>
          </a:r>
          <a:endParaRPr lang="ru-RU" dirty="0"/>
        </a:p>
      </dgm:t>
    </dgm:pt>
    <dgm:pt modelId="{10075613-CF6B-411F-966F-C4128077ECBD}" type="parTrans" cxnId="{5763E515-F0CA-487B-B584-7AD4B744135B}">
      <dgm:prSet/>
      <dgm:spPr/>
      <dgm:t>
        <a:bodyPr/>
        <a:lstStyle/>
        <a:p>
          <a:endParaRPr lang="ru-RU"/>
        </a:p>
      </dgm:t>
    </dgm:pt>
    <dgm:pt modelId="{8D04E31F-EB71-4AC8-B9C7-254AEAEB508D}" type="sibTrans" cxnId="{5763E515-F0CA-487B-B584-7AD4B744135B}">
      <dgm:prSet/>
      <dgm:spPr/>
      <dgm:t>
        <a:bodyPr/>
        <a:lstStyle/>
        <a:p>
          <a:endParaRPr lang="ru-RU"/>
        </a:p>
      </dgm:t>
    </dgm:pt>
    <dgm:pt modelId="{26E41FF5-80E5-48A7-BBBE-C6250B3A76CC}" type="pres">
      <dgm:prSet presAssocID="{4E975994-E9A3-425B-80EA-447AA120D28B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366F501-D829-41DE-979A-8B9CCB165818}" type="pres">
      <dgm:prSet presAssocID="{2958EDB3-17A7-4CD8-BF1E-960F154F0B83}" presName="horFlow" presStyleCnt="0"/>
      <dgm:spPr/>
    </dgm:pt>
    <dgm:pt modelId="{42E5E8BB-E94B-4062-A2AC-7D1A40070A41}" type="pres">
      <dgm:prSet presAssocID="{2958EDB3-17A7-4CD8-BF1E-960F154F0B83}" presName="bigChev" presStyleLbl="node1" presStyleIdx="0" presStyleCnt="4" custScaleX="482210"/>
      <dgm:spPr/>
      <dgm:t>
        <a:bodyPr/>
        <a:lstStyle/>
        <a:p>
          <a:endParaRPr lang="ru-RU"/>
        </a:p>
      </dgm:t>
    </dgm:pt>
    <dgm:pt modelId="{B09A35B1-E016-4209-BE16-289BA95C1F28}" type="pres">
      <dgm:prSet presAssocID="{2958EDB3-17A7-4CD8-BF1E-960F154F0B83}" presName="vSp" presStyleCnt="0"/>
      <dgm:spPr/>
    </dgm:pt>
    <dgm:pt modelId="{989B6620-6457-4A58-BAA6-4BE7D203A6AE}" type="pres">
      <dgm:prSet presAssocID="{C903A557-5523-4B7D-A9FC-F28EF0931B6B}" presName="horFlow" presStyleCnt="0"/>
      <dgm:spPr/>
    </dgm:pt>
    <dgm:pt modelId="{638ADD03-5BEE-479C-A1B7-96E222CE641B}" type="pres">
      <dgm:prSet presAssocID="{C903A557-5523-4B7D-A9FC-F28EF0931B6B}" presName="bigChev" presStyleLbl="node1" presStyleIdx="1" presStyleCnt="4" custScaleX="482210"/>
      <dgm:spPr/>
      <dgm:t>
        <a:bodyPr/>
        <a:lstStyle/>
        <a:p>
          <a:endParaRPr lang="ru-RU"/>
        </a:p>
      </dgm:t>
    </dgm:pt>
    <dgm:pt modelId="{514B923A-285D-4A33-A4F2-291A36644049}" type="pres">
      <dgm:prSet presAssocID="{C903A557-5523-4B7D-A9FC-F28EF0931B6B}" presName="vSp" presStyleCnt="0"/>
      <dgm:spPr/>
    </dgm:pt>
    <dgm:pt modelId="{D285324C-FE42-4B4B-9551-763FA6F3B1F8}" type="pres">
      <dgm:prSet presAssocID="{25FCC399-2635-420B-943C-BCF924C83E08}" presName="horFlow" presStyleCnt="0"/>
      <dgm:spPr/>
    </dgm:pt>
    <dgm:pt modelId="{FF62FF8B-B8AD-4EC0-A913-A7624E5C2F4B}" type="pres">
      <dgm:prSet presAssocID="{25FCC399-2635-420B-943C-BCF924C83E08}" presName="bigChev" presStyleLbl="node1" presStyleIdx="2" presStyleCnt="4" custScaleX="482210"/>
      <dgm:spPr/>
      <dgm:t>
        <a:bodyPr/>
        <a:lstStyle/>
        <a:p>
          <a:endParaRPr lang="ru-RU"/>
        </a:p>
      </dgm:t>
    </dgm:pt>
    <dgm:pt modelId="{75ABE1A5-C942-4137-81EF-29FE7A762FE2}" type="pres">
      <dgm:prSet presAssocID="{25FCC399-2635-420B-943C-BCF924C83E08}" presName="vSp" presStyleCnt="0"/>
      <dgm:spPr/>
    </dgm:pt>
    <dgm:pt modelId="{C9A81481-9F93-44DC-B53E-16CBBBFBEC13}" type="pres">
      <dgm:prSet presAssocID="{E37FC509-7F7C-43E9-8B9D-584A0B801BDB}" presName="horFlow" presStyleCnt="0"/>
      <dgm:spPr/>
    </dgm:pt>
    <dgm:pt modelId="{033307B4-BE26-4AEB-9D8B-CBD91B9771DF}" type="pres">
      <dgm:prSet presAssocID="{E37FC509-7F7C-43E9-8B9D-584A0B801BDB}" presName="bigChev" presStyleLbl="node1" presStyleIdx="3" presStyleCnt="4" custScaleX="482210"/>
      <dgm:spPr/>
      <dgm:t>
        <a:bodyPr/>
        <a:lstStyle/>
        <a:p>
          <a:endParaRPr lang="ru-RU"/>
        </a:p>
      </dgm:t>
    </dgm:pt>
  </dgm:ptLst>
  <dgm:cxnLst>
    <dgm:cxn modelId="{8CD1F118-C913-4C67-A62F-3E461A8E89ED}" type="presOf" srcId="{C903A557-5523-4B7D-A9FC-F28EF0931B6B}" destId="{638ADD03-5BEE-479C-A1B7-96E222CE641B}" srcOrd="0" destOrd="0" presId="urn:microsoft.com/office/officeart/2005/8/layout/lProcess3"/>
    <dgm:cxn modelId="{4A30772D-30B7-4977-906B-328EB2CB2AC3}" type="presOf" srcId="{2958EDB3-17A7-4CD8-BF1E-960F154F0B83}" destId="{42E5E8BB-E94B-4062-A2AC-7D1A40070A41}" srcOrd="0" destOrd="0" presId="urn:microsoft.com/office/officeart/2005/8/layout/lProcess3"/>
    <dgm:cxn modelId="{960D23E6-320B-4500-9CF6-4F1910EDADD7}" type="presOf" srcId="{25FCC399-2635-420B-943C-BCF924C83E08}" destId="{FF62FF8B-B8AD-4EC0-A913-A7624E5C2F4B}" srcOrd="0" destOrd="0" presId="urn:microsoft.com/office/officeart/2005/8/layout/lProcess3"/>
    <dgm:cxn modelId="{5763E515-F0CA-487B-B584-7AD4B744135B}" srcId="{4E975994-E9A3-425B-80EA-447AA120D28B}" destId="{E37FC509-7F7C-43E9-8B9D-584A0B801BDB}" srcOrd="3" destOrd="0" parTransId="{10075613-CF6B-411F-966F-C4128077ECBD}" sibTransId="{8D04E31F-EB71-4AC8-B9C7-254AEAEB508D}"/>
    <dgm:cxn modelId="{CC02BDE4-F603-475F-B613-DC646C084FBF}" type="presOf" srcId="{4E975994-E9A3-425B-80EA-447AA120D28B}" destId="{26E41FF5-80E5-48A7-BBBE-C6250B3A76CC}" srcOrd="0" destOrd="0" presId="urn:microsoft.com/office/officeart/2005/8/layout/lProcess3"/>
    <dgm:cxn modelId="{775671AD-6DE5-4710-8B77-A2BCD77EED40}" srcId="{4E975994-E9A3-425B-80EA-447AA120D28B}" destId="{2958EDB3-17A7-4CD8-BF1E-960F154F0B83}" srcOrd="0" destOrd="0" parTransId="{B296D4BD-C2F2-4B25-B1B3-AABBA1F6C636}" sibTransId="{FC7B765E-5833-41A5-A80C-2813E75A3CC5}"/>
    <dgm:cxn modelId="{1AFA0A79-F9CE-490B-978D-FB9F4554D7F8}" srcId="{4E975994-E9A3-425B-80EA-447AA120D28B}" destId="{C903A557-5523-4B7D-A9FC-F28EF0931B6B}" srcOrd="1" destOrd="0" parTransId="{33CFE058-94CF-4887-A5E3-02BA7EB8571C}" sibTransId="{DEAB65BA-C62F-4477-B1CE-04632A437D51}"/>
    <dgm:cxn modelId="{A7D76983-0CA3-4E7A-9131-58D466E86BEF}" srcId="{4E975994-E9A3-425B-80EA-447AA120D28B}" destId="{25FCC399-2635-420B-943C-BCF924C83E08}" srcOrd="2" destOrd="0" parTransId="{BFC92DDD-490B-4352-AD5D-A3091D830E0F}" sibTransId="{18074A36-8A43-4759-B4D0-03D2A1C86220}"/>
    <dgm:cxn modelId="{D7ABAD93-A0C3-4262-9454-A8DE10AAE248}" type="presOf" srcId="{E37FC509-7F7C-43E9-8B9D-584A0B801BDB}" destId="{033307B4-BE26-4AEB-9D8B-CBD91B9771DF}" srcOrd="0" destOrd="0" presId="urn:microsoft.com/office/officeart/2005/8/layout/lProcess3"/>
    <dgm:cxn modelId="{FCB0EFF5-75B5-4F6D-AC69-1271AC9C8D56}" type="presParOf" srcId="{26E41FF5-80E5-48A7-BBBE-C6250B3A76CC}" destId="{4366F501-D829-41DE-979A-8B9CCB165818}" srcOrd="0" destOrd="0" presId="urn:microsoft.com/office/officeart/2005/8/layout/lProcess3"/>
    <dgm:cxn modelId="{8B0D2349-4269-45E1-8633-8569D786A374}" type="presParOf" srcId="{4366F501-D829-41DE-979A-8B9CCB165818}" destId="{42E5E8BB-E94B-4062-A2AC-7D1A40070A41}" srcOrd="0" destOrd="0" presId="urn:microsoft.com/office/officeart/2005/8/layout/lProcess3"/>
    <dgm:cxn modelId="{CB178193-5C28-4733-B878-99DD7D75C3CC}" type="presParOf" srcId="{26E41FF5-80E5-48A7-BBBE-C6250B3A76CC}" destId="{B09A35B1-E016-4209-BE16-289BA95C1F28}" srcOrd="1" destOrd="0" presId="urn:microsoft.com/office/officeart/2005/8/layout/lProcess3"/>
    <dgm:cxn modelId="{CBA112B7-89E0-4B0B-8B9B-6040A31C14A8}" type="presParOf" srcId="{26E41FF5-80E5-48A7-BBBE-C6250B3A76CC}" destId="{989B6620-6457-4A58-BAA6-4BE7D203A6AE}" srcOrd="2" destOrd="0" presId="urn:microsoft.com/office/officeart/2005/8/layout/lProcess3"/>
    <dgm:cxn modelId="{72968F2B-0B75-4249-9850-A1F46060B5A3}" type="presParOf" srcId="{989B6620-6457-4A58-BAA6-4BE7D203A6AE}" destId="{638ADD03-5BEE-479C-A1B7-96E222CE641B}" srcOrd="0" destOrd="0" presId="urn:microsoft.com/office/officeart/2005/8/layout/lProcess3"/>
    <dgm:cxn modelId="{D0D21B06-AF8C-4AB8-81B4-158DA86EDCBB}" type="presParOf" srcId="{26E41FF5-80E5-48A7-BBBE-C6250B3A76CC}" destId="{514B923A-285D-4A33-A4F2-291A36644049}" srcOrd="3" destOrd="0" presId="urn:microsoft.com/office/officeart/2005/8/layout/lProcess3"/>
    <dgm:cxn modelId="{A67ADE49-A949-4CA6-8572-FCC48FA02A26}" type="presParOf" srcId="{26E41FF5-80E5-48A7-BBBE-C6250B3A76CC}" destId="{D285324C-FE42-4B4B-9551-763FA6F3B1F8}" srcOrd="4" destOrd="0" presId="urn:microsoft.com/office/officeart/2005/8/layout/lProcess3"/>
    <dgm:cxn modelId="{9E374ECC-3D45-40C1-8358-97E6C91A0266}" type="presParOf" srcId="{D285324C-FE42-4B4B-9551-763FA6F3B1F8}" destId="{FF62FF8B-B8AD-4EC0-A913-A7624E5C2F4B}" srcOrd="0" destOrd="0" presId="urn:microsoft.com/office/officeart/2005/8/layout/lProcess3"/>
    <dgm:cxn modelId="{D07D940D-D6B2-4748-90CA-3BCBF68DCFCD}" type="presParOf" srcId="{26E41FF5-80E5-48A7-BBBE-C6250B3A76CC}" destId="{75ABE1A5-C942-4137-81EF-29FE7A762FE2}" srcOrd="5" destOrd="0" presId="urn:microsoft.com/office/officeart/2005/8/layout/lProcess3"/>
    <dgm:cxn modelId="{6E74A4BA-D946-4752-993B-1708BF862B78}" type="presParOf" srcId="{26E41FF5-80E5-48A7-BBBE-C6250B3A76CC}" destId="{C9A81481-9F93-44DC-B53E-16CBBBFBEC13}" srcOrd="6" destOrd="0" presId="urn:microsoft.com/office/officeart/2005/8/layout/lProcess3"/>
    <dgm:cxn modelId="{3E95AE71-734A-483D-8EA4-36A99FFB6A50}" type="presParOf" srcId="{C9A81481-9F93-44DC-B53E-16CBBBFBEC13}" destId="{033307B4-BE26-4AEB-9D8B-CBD91B9771DF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582E9D26-6E62-4EC0-BB1C-47C07C5F4A01}" type="doc">
      <dgm:prSet loTypeId="urn:microsoft.com/office/officeart/2005/8/layout/chevron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AE4832C1-7B34-44B8-A276-5D8C7079FDCE}">
      <dgm:prSet phldrT="[Текст]"/>
      <dgm:spPr/>
      <dgm:t>
        <a:bodyPr/>
        <a:lstStyle/>
        <a:p>
          <a:r>
            <a:rPr lang="ru-RU" dirty="0" smtClean="0"/>
            <a:t>1</a:t>
          </a:r>
          <a:endParaRPr lang="ru-RU" dirty="0"/>
        </a:p>
      </dgm:t>
    </dgm:pt>
    <dgm:pt modelId="{93078FC4-D241-4280-9F47-6EA2225A86DA}" type="parTrans" cxnId="{442F8925-6EEF-404A-A279-6BE464DB0DE7}">
      <dgm:prSet/>
      <dgm:spPr/>
      <dgm:t>
        <a:bodyPr/>
        <a:lstStyle/>
        <a:p>
          <a:endParaRPr lang="ru-RU"/>
        </a:p>
      </dgm:t>
    </dgm:pt>
    <dgm:pt modelId="{AF70DDDB-9CE7-4493-8748-5E90D9570C05}" type="sibTrans" cxnId="{442F8925-6EEF-404A-A279-6BE464DB0DE7}">
      <dgm:prSet/>
      <dgm:spPr/>
      <dgm:t>
        <a:bodyPr/>
        <a:lstStyle/>
        <a:p>
          <a:endParaRPr lang="ru-RU"/>
        </a:p>
      </dgm:t>
    </dgm:pt>
    <dgm:pt modelId="{2EDAAC41-5362-42CC-A3AC-F28054B21834}">
      <dgm:prSet phldrT="[Текст]"/>
      <dgm:spPr/>
      <dgm:t>
        <a:bodyPr/>
        <a:lstStyle/>
        <a:p>
          <a:r>
            <a:rPr lang="ru-RU" dirty="0" smtClean="0"/>
            <a:t>прогноз объемов потребления ЖМТ и КПГ осуществлялся согласно нормам, утвержденным Министерством транспорта Российской Федерации </a:t>
          </a:r>
          <a:endParaRPr lang="ru-RU" dirty="0"/>
        </a:p>
      </dgm:t>
    </dgm:pt>
    <dgm:pt modelId="{885C534F-C744-43B3-A4BD-F672D1E97D4F}" type="parTrans" cxnId="{E973BFBC-D9D6-4BFB-A94E-5636430D339A}">
      <dgm:prSet/>
      <dgm:spPr/>
      <dgm:t>
        <a:bodyPr/>
        <a:lstStyle/>
        <a:p>
          <a:endParaRPr lang="ru-RU"/>
        </a:p>
      </dgm:t>
    </dgm:pt>
    <dgm:pt modelId="{59EEF0B7-9E41-4E76-A5D2-B7FA81A04EDD}" type="sibTrans" cxnId="{E973BFBC-D9D6-4BFB-A94E-5636430D339A}">
      <dgm:prSet/>
      <dgm:spPr/>
      <dgm:t>
        <a:bodyPr/>
        <a:lstStyle/>
        <a:p>
          <a:endParaRPr lang="ru-RU"/>
        </a:p>
      </dgm:t>
    </dgm:pt>
    <dgm:pt modelId="{72E066A5-296C-4411-B58E-3ECA08445749}">
      <dgm:prSet/>
      <dgm:spPr/>
      <dgm:t>
        <a:bodyPr/>
        <a:lstStyle/>
        <a:p>
          <a:r>
            <a:rPr lang="ru-RU" dirty="0" smtClean="0"/>
            <a:t>объем потребления ЖМТ, замещенного КПГ, принимался равным прогнозному объему потребления КПГ</a:t>
          </a:r>
          <a:endParaRPr lang="ru-RU" dirty="0"/>
        </a:p>
      </dgm:t>
    </dgm:pt>
    <dgm:pt modelId="{AB2EBF71-B8F0-449F-9BA1-3071C42CCFDA}" type="parTrans" cxnId="{02A7D1B5-E4A8-426D-B934-78E92A9D9522}">
      <dgm:prSet/>
      <dgm:spPr/>
      <dgm:t>
        <a:bodyPr/>
        <a:lstStyle/>
        <a:p>
          <a:endParaRPr lang="ru-RU"/>
        </a:p>
      </dgm:t>
    </dgm:pt>
    <dgm:pt modelId="{29EDD311-FEDE-4ED1-9CD3-4A98FBD38A45}" type="sibTrans" cxnId="{02A7D1B5-E4A8-426D-B934-78E92A9D9522}">
      <dgm:prSet/>
      <dgm:spPr/>
      <dgm:t>
        <a:bodyPr/>
        <a:lstStyle/>
        <a:p>
          <a:endParaRPr lang="ru-RU"/>
        </a:p>
      </dgm:t>
    </dgm:pt>
    <dgm:pt modelId="{4C0B64A7-45D8-44AB-A53C-AF78E64056F1}">
      <dgm:prSet/>
      <dgm:spPr/>
      <dgm:t>
        <a:bodyPr/>
        <a:lstStyle/>
        <a:p>
          <a:r>
            <a:rPr lang="ru-RU" dirty="0" smtClean="0"/>
            <a:t>затраты как на ЖМТ, так и на КПГ спрогнозированы на основе данных о стоимости ЖМТ и КПГ в регионах деятельности Организаций</a:t>
          </a:r>
          <a:endParaRPr lang="ru-RU" dirty="0"/>
        </a:p>
      </dgm:t>
    </dgm:pt>
    <dgm:pt modelId="{208CB580-E238-48D1-B846-17BDF10F5FE0}" type="parTrans" cxnId="{921CA342-6BC1-4177-BF5E-F325DD6940B7}">
      <dgm:prSet/>
      <dgm:spPr/>
      <dgm:t>
        <a:bodyPr/>
        <a:lstStyle/>
        <a:p>
          <a:endParaRPr lang="ru-RU"/>
        </a:p>
      </dgm:t>
    </dgm:pt>
    <dgm:pt modelId="{0675576C-8B93-46B2-BA63-925DA264B2D8}" type="sibTrans" cxnId="{921CA342-6BC1-4177-BF5E-F325DD6940B7}">
      <dgm:prSet/>
      <dgm:spPr/>
      <dgm:t>
        <a:bodyPr/>
        <a:lstStyle/>
        <a:p>
          <a:endParaRPr lang="ru-RU"/>
        </a:p>
      </dgm:t>
    </dgm:pt>
    <dgm:pt modelId="{14413C33-0FD0-4575-B5A2-5D1979DCC3E7}">
      <dgm:prSet phldrT="[Текст]"/>
      <dgm:spPr/>
      <dgm:t>
        <a:bodyPr/>
        <a:lstStyle/>
        <a:p>
          <a:r>
            <a:rPr lang="ru-RU" dirty="0" smtClean="0"/>
            <a:t>соотношением потребления КПГ к ЖМТ считалось 60/40</a:t>
          </a:r>
          <a:endParaRPr lang="ru-RU" dirty="0"/>
        </a:p>
      </dgm:t>
    </dgm:pt>
    <dgm:pt modelId="{D922C90E-B567-475A-9755-611B2F6D46D9}" type="parTrans" cxnId="{6177E254-46C2-4771-ABE4-B72C6E73E2D9}">
      <dgm:prSet/>
      <dgm:spPr/>
      <dgm:t>
        <a:bodyPr/>
        <a:lstStyle/>
        <a:p>
          <a:endParaRPr lang="ru-RU"/>
        </a:p>
      </dgm:t>
    </dgm:pt>
    <dgm:pt modelId="{211DA23A-5209-41C1-A1B3-279BB04631DD}" type="sibTrans" cxnId="{6177E254-46C2-4771-ABE4-B72C6E73E2D9}">
      <dgm:prSet/>
      <dgm:spPr/>
      <dgm:t>
        <a:bodyPr/>
        <a:lstStyle/>
        <a:p>
          <a:endParaRPr lang="ru-RU"/>
        </a:p>
      </dgm:t>
    </dgm:pt>
    <dgm:pt modelId="{2BAD6AFB-408F-4E02-BD94-9C64C411FEAB}">
      <dgm:prSet phldrT="[Текст]"/>
      <dgm:spPr/>
      <dgm:t>
        <a:bodyPr/>
        <a:lstStyle/>
        <a:p>
          <a:r>
            <a:rPr lang="ru-RU" dirty="0" smtClean="0"/>
            <a:t>2</a:t>
          </a:r>
          <a:endParaRPr lang="ru-RU" dirty="0"/>
        </a:p>
      </dgm:t>
    </dgm:pt>
    <dgm:pt modelId="{DCF4B4DE-813A-48D9-A3FB-BD9E9E7CF055}" type="parTrans" cxnId="{1638C1D3-DE98-4259-8C44-418439889D8C}">
      <dgm:prSet/>
      <dgm:spPr/>
      <dgm:t>
        <a:bodyPr/>
        <a:lstStyle/>
        <a:p>
          <a:endParaRPr lang="ru-RU"/>
        </a:p>
      </dgm:t>
    </dgm:pt>
    <dgm:pt modelId="{0D31BFEA-9A1F-473E-A66D-8C2FEE24787A}" type="sibTrans" cxnId="{1638C1D3-DE98-4259-8C44-418439889D8C}">
      <dgm:prSet/>
      <dgm:spPr/>
      <dgm:t>
        <a:bodyPr/>
        <a:lstStyle/>
        <a:p>
          <a:endParaRPr lang="ru-RU"/>
        </a:p>
      </dgm:t>
    </dgm:pt>
    <dgm:pt modelId="{BFEABE4F-83AE-4816-9619-CE7B21DD2A7C}">
      <dgm:prSet/>
      <dgm:spPr/>
      <dgm:t>
        <a:bodyPr/>
        <a:lstStyle/>
        <a:p>
          <a:r>
            <a:rPr lang="ru-RU" dirty="0" smtClean="0"/>
            <a:t>3</a:t>
          </a:r>
          <a:endParaRPr lang="ru-RU" dirty="0"/>
        </a:p>
      </dgm:t>
    </dgm:pt>
    <dgm:pt modelId="{40A46190-F74F-410E-9895-12EB8D5C7BD6}" type="parTrans" cxnId="{0B1732C4-5607-4A6F-A54A-70C6DE8B60EA}">
      <dgm:prSet/>
      <dgm:spPr/>
      <dgm:t>
        <a:bodyPr/>
        <a:lstStyle/>
        <a:p>
          <a:endParaRPr lang="ru-RU"/>
        </a:p>
      </dgm:t>
    </dgm:pt>
    <dgm:pt modelId="{6EDC5F72-1EA7-42FC-A9B2-398DAB0B6E93}" type="sibTrans" cxnId="{0B1732C4-5607-4A6F-A54A-70C6DE8B60EA}">
      <dgm:prSet/>
      <dgm:spPr/>
      <dgm:t>
        <a:bodyPr/>
        <a:lstStyle/>
        <a:p>
          <a:endParaRPr lang="ru-RU"/>
        </a:p>
      </dgm:t>
    </dgm:pt>
    <dgm:pt modelId="{03D96332-366F-46C1-A759-82677CDD724A}">
      <dgm:prSet/>
      <dgm:spPr/>
      <dgm:t>
        <a:bodyPr/>
        <a:lstStyle/>
        <a:p>
          <a:r>
            <a:rPr lang="ru-RU" dirty="0" smtClean="0"/>
            <a:t>4</a:t>
          </a:r>
          <a:endParaRPr lang="ru-RU" dirty="0"/>
        </a:p>
      </dgm:t>
    </dgm:pt>
    <dgm:pt modelId="{4439BF5F-0503-4DA0-9139-82B5FCB03ADB}" type="parTrans" cxnId="{A64D9908-066F-4A07-B381-FB8044892C24}">
      <dgm:prSet/>
      <dgm:spPr/>
      <dgm:t>
        <a:bodyPr/>
        <a:lstStyle/>
        <a:p>
          <a:endParaRPr lang="ru-RU"/>
        </a:p>
      </dgm:t>
    </dgm:pt>
    <dgm:pt modelId="{2CD08877-9C6B-4434-9A36-9D81B1956B46}" type="sibTrans" cxnId="{A64D9908-066F-4A07-B381-FB8044892C24}">
      <dgm:prSet/>
      <dgm:spPr/>
      <dgm:t>
        <a:bodyPr/>
        <a:lstStyle/>
        <a:p>
          <a:endParaRPr lang="ru-RU"/>
        </a:p>
      </dgm:t>
    </dgm:pt>
    <dgm:pt modelId="{A06D1E65-C32D-4F4C-A676-1B54EFA0474B}" type="pres">
      <dgm:prSet presAssocID="{582E9D26-6E62-4EC0-BB1C-47C07C5F4A01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F0F2924-65C4-418D-B4D7-B6D21F0CB4FE}" type="pres">
      <dgm:prSet presAssocID="{AE4832C1-7B34-44B8-A276-5D8C7079FDCE}" presName="composite" presStyleCnt="0"/>
      <dgm:spPr/>
    </dgm:pt>
    <dgm:pt modelId="{A3C0A30F-D3EE-4237-B0CE-CECEA0C879D5}" type="pres">
      <dgm:prSet presAssocID="{AE4832C1-7B34-44B8-A276-5D8C7079FDCE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DDF28B9-5F46-45C9-9E6E-A8ACCEB65707}" type="pres">
      <dgm:prSet presAssocID="{AE4832C1-7B34-44B8-A276-5D8C7079FDCE}" presName="descendantText" presStyleLbl="alignAcc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B5218DD-1C04-45FC-AAB0-CC73663FB802}" type="pres">
      <dgm:prSet presAssocID="{AF70DDDB-9CE7-4493-8748-5E90D9570C05}" presName="sp" presStyleCnt="0"/>
      <dgm:spPr/>
    </dgm:pt>
    <dgm:pt modelId="{88176143-C408-4A06-B331-97BB6464A160}" type="pres">
      <dgm:prSet presAssocID="{2BAD6AFB-408F-4E02-BD94-9C64C411FEAB}" presName="composite" presStyleCnt="0"/>
      <dgm:spPr/>
    </dgm:pt>
    <dgm:pt modelId="{88F02DB1-820B-4D2A-A676-9310C2D54B52}" type="pres">
      <dgm:prSet presAssocID="{2BAD6AFB-408F-4E02-BD94-9C64C411FEAB}" presName="parentText" presStyleLbl="align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6E56EA0-639D-4B83-AEB8-2ABE2E4F520C}" type="pres">
      <dgm:prSet presAssocID="{2BAD6AFB-408F-4E02-BD94-9C64C411FEAB}" presName="descendantText" presStyleLbl="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A663861-E886-4AB5-9871-E9BD5A57C9EA}" type="pres">
      <dgm:prSet presAssocID="{0D31BFEA-9A1F-473E-A66D-8C2FEE24787A}" presName="sp" presStyleCnt="0"/>
      <dgm:spPr/>
    </dgm:pt>
    <dgm:pt modelId="{F44B2840-0824-4543-ACAC-B41F66F5C491}" type="pres">
      <dgm:prSet presAssocID="{BFEABE4F-83AE-4816-9619-CE7B21DD2A7C}" presName="composite" presStyleCnt="0"/>
      <dgm:spPr/>
    </dgm:pt>
    <dgm:pt modelId="{CD162000-4DA4-4145-9556-EE57EB6B16CE}" type="pres">
      <dgm:prSet presAssocID="{BFEABE4F-83AE-4816-9619-CE7B21DD2A7C}" presName="parentText" presStyleLbl="align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FBEFE16-3B14-4F93-9432-25A69E680623}" type="pres">
      <dgm:prSet presAssocID="{BFEABE4F-83AE-4816-9619-CE7B21DD2A7C}" presName="descendantText" presStyleLbl="alignAcc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E74EE91-63FB-42B6-B5B2-B5477AD336CE}" type="pres">
      <dgm:prSet presAssocID="{6EDC5F72-1EA7-42FC-A9B2-398DAB0B6E93}" presName="sp" presStyleCnt="0"/>
      <dgm:spPr/>
    </dgm:pt>
    <dgm:pt modelId="{F27F2773-16DA-45D4-9A4E-4E52D737E6DB}" type="pres">
      <dgm:prSet presAssocID="{03D96332-366F-46C1-A759-82677CDD724A}" presName="composite" presStyleCnt="0"/>
      <dgm:spPr/>
    </dgm:pt>
    <dgm:pt modelId="{D3E0907C-1E8C-4A70-914D-B79D72BD6014}" type="pres">
      <dgm:prSet presAssocID="{03D96332-366F-46C1-A759-82677CDD724A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ED8E01-958D-434E-B2F7-3678E05478F9}" type="pres">
      <dgm:prSet presAssocID="{03D96332-366F-46C1-A759-82677CDD724A}" presName="descendantText" presStyleLbl="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066DC6E-0A86-45CD-8DB0-EB5CF493B4BC}" type="presOf" srcId="{2EDAAC41-5362-42CC-A3AC-F28054B21834}" destId="{6DDF28B9-5F46-45C9-9E6E-A8ACCEB65707}" srcOrd="0" destOrd="0" presId="urn:microsoft.com/office/officeart/2005/8/layout/chevron2"/>
    <dgm:cxn modelId="{1638C1D3-DE98-4259-8C44-418439889D8C}" srcId="{582E9D26-6E62-4EC0-BB1C-47C07C5F4A01}" destId="{2BAD6AFB-408F-4E02-BD94-9C64C411FEAB}" srcOrd="1" destOrd="0" parTransId="{DCF4B4DE-813A-48D9-A3FB-BD9E9E7CF055}" sibTransId="{0D31BFEA-9A1F-473E-A66D-8C2FEE24787A}"/>
    <dgm:cxn modelId="{B7707C3F-E950-4900-A93C-9D1078CF93BE}" type="presOf" srcId="{14413C33-0FD0-4575-B5A2-5D1979DCC3E7}" destId="{F6E56EA0-639D-4B83-AEB8-2ABE2E4F520C}" srcOrd="0" destOrd="0" presId="urn:microsoft.com/office/officeart/2005/8/layout/chevron2"/>
    <dgm:cxn modelId="{4738DE13-8C7F-48A3-8679-453F430024E2}" type="presOf" srcId="{4C0B64A7-45D8-44AB-A53C-AF78E64056F1}" destId="{EDED8E01-958D-434E-B2F7-3678E05478F9}" srcOrd="0" destOrd="0" presId="urn:microsoft.com/office/officeart/2005/8/layout/chevron2"/>
    <dgm:cxn modelId="{442F8925-6EEF-404A-A279-6BE464DB0DE7}" srcId="{582E9D26-6E62-4EC0-BB1C-47C07C5F4A01}" destId="{AE4832C1-7B34-44B8-A276-5D8C7079FDCE}" srcOrd="0" destOrd="0" parTransId="{93078FC4-D241-4280-9F47-6EA2225A86DA}" sibTransId="{AF70DDDB-9CE7-4493-8748-5E90D9570C05}"/>
    <dgm:cxn modelId="{39D74124-31B6-4C2A-AB63-0006F7C304B0}" type="presOf" srcId="{2BAD6AFB-408F-4E02-BD94-9C64C411FEAB}" destId="{88F02DB1-820B-4D2A-A676-9310C2D54B52}" srcOrd="0" destOrd="0" presId="urn:microsoft.com/office/officeart/2005/8/layout/chevron2"/>
    <dgm:cxn modelId="{0B1732C4-5607-4A6F-A54A-70C6DE8B60EA}" srcId="{582E9D26-6E62-4EC0-BB1C-47C07C5F4A01}" destId="{BFEABE4F-83AE-4816-9619-CE7B21DD2A7C}" srcOrd="2" destOrd="0" parTransId="{40A46190-F74F-410E-9895-12EB8D5C7BD6}" sibTransId="{6EDC5F72-1EA7-42FC-A9B2-398DAB0B6E93}"/>
    <dgm:cxn modelId="{A64D9908-066F-4A07-B381-FB8044892C24}" srcId="{582E9D26-6E62-4EC0-BB1C-47C07C5F4A01}" destId="{03D96332-366F-46C1-A759-82677CDD724A}" srcOrd="3" destOrd="0" parTransId="{4439BF5F-0503-4DA0-9139-82B5FCB03ADB}" sibTransId="{2CD08877-9C6B-4434-9A36-9D81B1956B46}"/>
    <dgm:cxn modelId="{921CA342-6BC1-4177-BF5E-F325DD6940B7}" srcId="{03D96332-366F-46C1-A759-82677CDD724A}" destId="{4C0B64A7-45D8-44AB-A53C-AF78E64056F1}" srcOrd="0" destOrd="0" parTransId="{208CB580-E238-48D1-B846-17BDF10F5FE0}" sibTransId="{0675576C-8B93-46B2-BA63-925DA264B2D8}"/>
    <dgm:cxn modelId="{6177E254-46C2-4771-ABE4-B72C6E73E2D9}" srcId="{2BAD6AFB-408F-4E02-BD94-9C64C411FEAB}" destId="{14413C33-0FD0-4575-B5A2-5D1979DCC3E7}" srcOrd="0" destOrd="0" parTransId="{D922C90E-B567-475A-9755-611B2F6D46D9}" sibTransId="{211DA23A-5209-41C1-A1B3-279BB04631DD}"/>
    <dgm:cxn modelId="{6FF5CC50-4BB6-4D7A-90F6-9F50E77C1601}" type="presOf" srcId="{72E066A5-296C-4411-B58E-3ECA08445749}" destId="{5FBEFE16-3B14-4F93-9432-25A69E680623}" srcOrd="0" destOrd="0" presId="urn:microsoft.com/office/officeart/2005/8/layout/chevron2"/>
    <dgm:cxn modelId="{D1200D58-327A-4233-8094-A07C6069800D}" type="presOf" srcId="{582E9D26-6E62-4EC0-BB1C-47C07C5F4A01}" destId="{A06D1E65-C32D-4F4C-A676-1B54EFA0474B}" srcOrd="0" destOrd="0" presId="urn:microsoft.com/office/officeart/2005/8/layout/chevron2"/>
    <dgm:cxn modelId="{A35281B7-53E1-40ED-AC9B-FEE373CF1DC4}" type="presOf" srcId="{03D96332-366F-46C1-A759-82677CDD724A}" destId="{D3E0907C-1E8C-4A70-914D-B79D72BD6014}" srcOrd="0" destOrd="0" presId="urn:microsoft.com/office/officeart/2005/8/layout/chevron2"/>
    <dgm:cxn modelId="{02A7D1B5-E4A8-426D-B934-78E92A9D9522}" srcId="{BFEABE4F-83AE-4816-9619-CE7B21DD2A7C}" destId="{72E066A5-296C-4411-B58E-3ECA08445749}" srcOrd="0" destOrd="0" parTransId="{AB2EBF71-B8F0-449F-9BA1-3071C42CCFDA}" sibTransId="{29EDD311-FEDE-4ED1-9CD3-4A98FBD38A45}"/>
    <dgm:cxn modelId="{D352E3FD-2481-4857-9524-64E6CA7BB077}" type="presOf" srcId="{BFEABE4F-83AE-4816-9619-CE7B21DD2A7C}" destId="{CD162000-4DA4-4145-9556-EE57EB6B16CE}" srcOrd="0" destOrd="0" presId="urn:microsoft.com/office/officeart/2005/8/layout/chevron2"/>
    <dgm:cxn modelId="{E973BFBC-D9D6-4BFB-A94E-5636430D339A}" srcId="{AE4832C1-7B34-44B8-A276-5D8C7079FDCE}" destId="{2EDAAC41-5362-42CC-A3AC-F28054B21834}" srcOrd="0" destOrd="0" parTransId="{885C534F-C744-43B3-A4BD-F672D1E97D4F}" sibTransId="{59EEF0B7-9E41-4E76-A5D2-B7FA81A04EDD}"/>
    <dgm:cxn modelId="{D1C1FAED-D5D1-4ED8-A45B-DBF68B543DF3}" type="presOf" srcId="{AE4832C1-7B34-44B8-A276-5D8C7079FDCE}" destId="{A3C0A30F-D3EE-4237-B0CE-CECEA0C879D5}" srcOrd="0" destOrd="0" presId="urn:microsoft.com/office/officeart/2005/8/layout/chevron2"/>
    <dgm:cxn modelId="{5D4E8C9C-2FF9-4A0E-893C-E1CAA03FA636}" type="presParOf" srcId="{A06D1E65-C32D-4F4C-A676-1B54EFA0474B}" destId="{0F0F2924-65C4-418D-B4D7-B6D21F0CB4FE}" srcOrd="0" destOrd="0" presId="urn:microsoft.com/office/officeart/2005/8/layout/chevron2"/>
    <dgm:cxn modelId="{FEF52724-A47C-474C-9CCE-6A8F8F85514B}" type="presParOf" srcId="{0F0F2924-65C4-418D-B4D7-B6D21F0CB4FE}" destId="{A3C0A30F-D3EE-4237-B0CE-CECEA0C879D5}" srcOrd="0" destOrd="0" presId="urn:microsoft.com/office/officeart/2005/8/layout/chevron2"/>
    <dgm:cxn modelId="{8402FD4C-C7F2-4B5D-BEB5-693711D5AB45}" type="presParOf" srcId="{0F0F2924-65C4-418D-B4D7-B6D21F0CB4FE}" destId="{6DDF28B9-5F46-45C9-9E6E-A8ACCEB65707}" srcOrd="1" destOrd="0" presId="urn:microsoft.com/office/officeart/2005/8/layout/chevron2"/>
    <dgm:cxn modelId="{B74CC467-4CC4-4D6B-BA52-387FB2C52980}" type="presParOf" srcId="{A06D1E65-C32D-4F4C-A676-1B54EFA0474B}" destId="{9B5218DD-1C04-45FC-AAB0-CC73663FB802}" srcOrd="1" destOrd="0" presId="urn:microsoft.com/office/officeart/2005/8/layout/chevron2"/>
    <dgm:cxn modelId="{DAE4A7A4-4DCD-45E3-8B30-CA98A5C68D15}" type="presParOf" srcId="{A06D1E65-C32D-4F4C-A676-1B54EFA0474B}" destId="{88176143-C408-4A06-B331-97BB6464A160}" srcOrd="2" destOrd="0" presId="urn:microsoft.com/office/officeart/2005/8/layout/chevron2"/>
    <dgm:cxn modelId="{640BCA7D-1B96-4D01-B9AA-832FCE12F2C3}" type="presParOf" srcId="{88176143-C408-4A06-B331-97BB6464A160}" destId="{88F02DB1-820B-4D2A-A676-9310C2D54B52}" srcOrd="0" destOrd="0" presId="urn:microsoft.com/office/officeart/2005/8/layout/chevron2"/>
    <dgm:cxn modelId="{30D892A7-0F90-482B-AB2B-33F5F1E3EDF3}" type="presParOf" srcId="{88176143-C408-4A06-B331-97BB6464A160}" destId="{F6E56EA0-639D-4B83-AEB8-2ABE2E4F520C}" srcOrd="1" destOrd="0" presId="urn:microsoft.com/office/officeart/2005/8/layout/chevron2"/>
    <dgm:cxn modelId="{21166DE0-EB0E-4417-A522-3ADB982B534F}" type="presParOf" srcId="{A06D1E65-C32D-4F4C-A676-1B54EFA0474B}" destId="{DA663861-E886-4AB5-9871-E9BD5A57C9EA}" srcOrd="3" destOrd="0" presId="urn:microsoft.com/office/officeart/2005/8/layout/chevron2"/>
    <dgm:cxn modelId="{20512681-8E6B-4E5A-B5DF-AF55F3969224}" type="presParOf" srcId="{A06D1E65-C32D-4F4C-A676-1B54EFA0474B}" destId="{F44B2840-0824-4543-ACAC-B41F66F5C491}" srcOrd="4" destOrd="0" presId="urn:microsoft.com/office/officeart/2005/8/layout/chevron2"/>
    <dgm:cxn modelId="{D05FFED0-2472-4244-8E40-F8E170A419D9}" type="presParOf" srcId="{F44B2840-0824-4543-ACAC-B41F66F5C491}" destId="{CD162000-4DA4-4145-9556-EE57EB6B16CE}" srcOrd="0" destOrd="0" presId="urn:microsoft.com/office/officeart/2005/8/layout/chevron2"/>
    <dgm:cxn modelId="{864955B7-79D1-464D-B91C-77B9954C7DA7}" type="presParOf" srcId="{F44B2840-0824-4543-ACAC-B41F66F5C491}" destId="{5FBEFE16-3B14-4F93-9432-25A69E680623}" srcOrd="1" destOrd="0" presId="urn:microsoft.com/office/officeart/2005/8/layout/chevron2"/>
    <dgm:cxn modelId="{120A8C4A-23C0-4B48-BE53-1AA491B07A46}" type="presParOf" srcId="{A06D1E65-C32D-4F4C-A676-1B54EFA0474B}" destId="{1E74EE91-63FB-42B6-B5B2-B5477AD336CE}" srcOrd="5" destOrd="0" presId="urn:microsoft.com/office/officeart/2005/8/layout/chevron2"/>
    <dgm:cxn modelId="{9992FC72-A5C4-411F-9A57-E5F6C80D8C8F}" type="presParOf" srcId="{A06D1E65-C32D-4F4C-A676-1B54EFA0474B}" destId="{F27F2773-16DA-45D4-9A4E-4E52D737E6DB}" srcOrd="6" destOrd="0" presId="urn:microsoft.com/office/officeart/2005/8/layout/chevron2"/>
    <dgm:cxn modelId="{D02AADEB-E417-42B1-87EB-3E72875DBC89}" type="presParOf" srcId="{F27F2773-16DA-45D4-9A4E-4E52D737E6DB}" destId="{D3E0907C-1E8C-4A70-914D-B79D72BD6014}" srcOrd="0" destOrd="0" presId="urn:microsoft.com/office/officeart/2005/8/layout/chevron2"/>
    <dgm:cxn modelId="{27D4642E-EA1C-4BFB-A0CF-9C736A642C9A}" type="presParOf" srcId="{F27F2773-16DA-45D4-9A4E-4E52D737E6DB}" destId="{EDED8E01-958D-434E-B2F7-3678E05478F9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8E4CAD48-0CC5-4B89-9977-4EE6E705013F}" type="doc">
      <dgm:prSet loTypeId="urn:microsoft.com/office/officeart/2005/8/layout/chevron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AC125896-9D4A-4AB7-8C3D-BBEA98FAC714}">
      <dgm:prSet phldrT="[Текст]" custT="1"/>
      <dgm:spPr/>
      <dgm:t>
        <a:bodyPr/>
        <a:lstStyle/>
        <a:p>
          <a:r>
            <a:rPr lang="ru-RU" sz="1800" dirty="0" smtClean="0"/>
            <a:t>1</a:t>
          </a:r>
          <a:endParaRPr lang="ru-RU" sz="1800" dirty="0"/>
        </a:p>
      </dgm:t>
    </dgm:pt>
    <dgm:pt modelId="{3C2DDBF8-8A40-4275-B6D1-F55235F3A3C1}" type="parTrans" cxnId="{22721721-146B-4AA9-9338-2C55A6A4F5E5}">
      <dgm:prSet/>
      <dgm:spPr/>
      <dgm:t>
        <a:bodyPr/>
        <a:lstStyle/>
        <a:p>
          <a:endParaRPr lang="ru-RU" sz="2000"/>
        </a:p>
      </dgm:t>
    </dgm:pt>
    <dgm:pt modelId="{301FEC22-88AD-4EB6-87C7-12259884873E}" type="sibTrans" cxnId="{22721721-146B-4AA9-9338-2C55A6A4F5E5}">
      <dgm:prSet/>
      <dgm:spPr/>
      <dgm:t>
        <a:bodyPr/>
        <a:lstStyle/>
        <a:p>
          <a:endParaRPr lang="ru-RU" sz="2000"/>
        </a:p>
      </dgm:t>
    </dgm:pt>
    <dgm:pt modelId="{293B6DAF-7ABB-482B-AB89-34C00FA96F55}">
      <dgm:prSet custT="1"/>
      <dgm:spPr/>
      <dgm:t>
        <a:bodyPr/>
        <a:lstStyle/>
        <a:p>
          <a:r>
            <a:rPr lang="ru-RU" sz="1800" dirty="0" smtClean="0"/>
            <a:t>3</a:t>
          </a:r>
          <a:endParaRPr lang="ru-RU" sz="1800" dirty="0"/>
        </a:p>
      </dgm:t>
    </dgm:pt>
    <dgm:pt modelId="{CA1860F2-7F8B-454E-9D01-3345BAC7AC32}" type="parTrans" cxnId="{9E313F3E-06D8-45DD-A059-59C3935BBB2E}">
      <dgm:prSet/>
      <dgm:spPr/>
      <dgm:t>
        <a:bodyPr/>
        <a:lstStyle/>
        <a:p>
          <a:endParaRPr lang="ru-RU" sz="2000"/>
        </a:p>
      </dgm:t>
    </dgm:pt>
    <dgm:pt modelId="{2D3A73A2-3334-4C9B-9A50-BB6678ED2127}" type="sibTrans" cxnId="{9E313F3E-06D8-45DD-A059-59C3935BBB2E}">
      <dgm:prSet/>
      <dgm:spPr/>
      <dgm:t>
        <a:bodyPr/>
        <a:lstStyle/>
        <a:p>
          <a:endParaRPr lang="ru-RU" sz="2000"/>
        </a:p>
      </dgm:t>
    </dgm:pt>
    <dgm:pt modelId="{1DD9F692-34E9-4080-9C4A-74A4926DDCD4}">
      <dgm:prSet custT="1"/>
      <dgm:spPr/>
      <dgm:t>
        <a:bodyPr/>
        <a:lstStyle/>
        <a:p>
          <a:r>
            <a:rPr lang="ru-RU" sz="1800" dirty="0" smtClean="0"/>
            <a:t>4</a:t>
          </a:r>
          <a:endParaRPr lang="ru-RU" sz="1800" dirty="0"/>
        </a:p>
      </dgm:t>
    </dgm:pt>
    <dgm:pt modelId="{68D9F9DB-88CD-42F1-AF66-84E73E4A5952}" type="parTrans" cxnId="{5549CB42-6555-465D-BE8E-F5CE3717973B}">
      <dgm:prSet/>
      <dgm:spPr/>
      <dgm:t>
        <a:bodyPr/>
        <a:lstStyle/>
        <a:p>
          <a:endParaRPr lang="ru-RU" sz="2000"/>
        </a:p>
      </dgm:t>
    </dgm:pt>
    <dgm:pt modelId="{392D3273-5C26-4524-989E-C8205861EFA1}" type="sibTrans" cxnId="{5549CB42-6555-465D-BE8E-F5CE3717973B}">
      <dgm:prSet/>
      <dgm:spPr/>
      <dgm:t>
        <a:bodyPr/>
        <a:lstStyle/>
        <a:p>
          <a:endParaRPr lang="ru-RU" sz="2000"/>
        </a:p>
      </dgm:t>
    </dgm:pt>
    <dgm:pt modelId="{69D67436-1C92-4AEF-9134-B1F9D0A5CC5D}">
      <dgm:prSet custT="1"/>
      <dgm:spPr/>
      <dgm:t>
        <a:bodyPr/>
        <a:lstStyle/>
        <a:p>
          <a:r>
            <a:rPr lang="ru-RU" sz="1800" dirty="0" smtClean="0"/>
            <a:t>5</a:t>
          </a:r>
          <a:endParaRPr lang="ru-RU" sz="1800" dirty="0"/>
        </a:p>
      </dgm:t>
    </dgm:pt>
    <dgm:pt modelId="{79FF3F20-599B-4073-B3A2-994BEDFFAAF5}" type="parTrans" cxnId="{8E9AE07B-E106-4177-9092-70AF02627B1B}">
      <dgm:prSet/>
      <dgm:spPr/>
      <dgm:t>
        <a:bodyPr/>
        <a:lstStyle/>
        <a:p>
          <a:endParaRPr lang="ru-RU" sz="2000"/>
        </a:p>
      </dgm:t>
    </dgm:pt>
    <dgm:pt modelId="{E11A1DF4-74A6-4548-8897-0419B80FCC99}" type="sibTrans" cxnId="{8E9AE07B-E106-4177-9092-70AF02627B1B}">
      <dgm:prSet/>
      <dgm:spPr/>
      <dgm:t>
        <a:bodyPr/>
        <a:lstStyle/>
        <a:p>
          <a:endParaRPr lang="ru-RU" sz="2000"/>
        </a:p>
      </dgm:t>
    </dgm:pt>
    <dgm:pt modelId="{7CBCA474-06D8-4298-8754-BAE3B21833EC}">
      <dgm:prSet custT="1"/>
      <dgm:spPr/>
      <dgm:t>
        <a:bodyPr/>
        <a:lstStyle/>
        <a:p>
          <a:r>
            <a:rPr lang="ru-RU" sz="1800" dirty="0" smtClean="0"/>
            <a:t>6</a:t>
          </a:r>
          <a:endParaRPr lang="ru-RU" sz="1800" dirty="0"/>
        </a:p>
      </dgm:t>
    </dgm:pt>
    <dgm:pt modelId="{58260522-686E-4896-99BA-08C4C74AC5F0}" type="parTrans" cxnId="{BFDD5BFC-CC71-4871-848A-744546D71881}">
      <dgm:prSet/>
      <dgm:spPr/>
      <dgm:t>
        <a:bodyPr/>
        <a:lstStyle/>
        <a:p>
          <a:endParaRPr lang="ru-RU" sz="2000"/>
        </a:p>
      </dgm:t>
    </dgm:pt>
    <dgm:pt modelId="{B1F75636-F22E-41DC-8121-28141CDB909C}" type="sibTrans" cxnId="{BFDD5BFC-CC71-4871-848A-744546D71881}">
      <dgm:prSet/>
      <dgm:spPr/>
      <dgm:t>
        <a:bodyPr/>
        <a:lstStyle/>
        <a:p>
          <a:endParaRPr lang="ru-RU" sz="2000"/>
        </a:p>
      </dgm:t>
    </dgm:pt>
    <dgm:pt modelId="{5D9EBC0B-D422-4FA8-86F4-FE2C9AEF9545}">
      <dgm:prSet phldrT="[Текст]" custT="1"/>
      <dgm:spPr/>
      <dgm:t>
        <a:bodyPr/>
        <a:lstStyle/>
        <a:p>
          <a:r>
            <a:rPr lang="ru-RU" sz="2000" dirty="0" smtClean="0"/>
            <a:t>Корпоративный контроль через формы корпоративной отчетности </a:t>
          </a:r>
          <a:br>
            <a:rPr lang="ru-RU" sz="2000" dirty="0" smtClean="0"/>
          </a:br>
          <a:r>
            <a:rPr lang="ru-RU" sz="2000" dirty="0" smtClean="0"/>
            <a:t>ПАО «Газпром»;</a:t>
          </a:r>
          <a:endParaRPr lang="ru-RU" sz="2000" dirty="0"/>
        </a:p>
      </dgm:t>
    </dgm:pt>
    <dgm:pt modelId="{5B048795-C7E4-41A6-AA9D-62878846FC32}" type="parTrans" cxnId="{C9BA8BE9-E414-42A7-AB9A-894AFCF4F6FF}">
      <dgm:prSet/>
      <dgm:spPr/>
      <dgm:t>
        <a:bodyPr/>
        <a:lstStyle/>
        <a:p>
          <a:endParaRPr lang="ru-RU" sz="2000"/>
        </a:p>
      </dgm:t>
    </dgm:pt>
    <dgm:pt modelId="{F329870E-96AA-4B0E-9CA4-315671C4AACE}" type="sibTrans" cxnId="{C9BA8BE9-E414-42A7-AB9A-894AFCF4F6FF}">
      <dgm:prSet/>
      <dgm:spPr/>
      <dgm:t>
        <a:bodyPr/>
        <a:lstStyle/>
        <a:p>
          <a:endParaRPr lang="ru-RU" sz="2000"/>
        </a:p>
      </dgm:t>
    </dgm:pt>
    <dgm:pt modelId="{C38916E0-610F-4312-B5CF-5DB8EDAD181C}">
      <dgm:prSet custT="1"/>
      <dgm:spPr/>
      <dgm:t>
        <a:bodyPr/>
        <a:lstStyle/>
        <a:p>
          <a:r>
            <a:rPr lang="ru-RU" sz="2000" dirty="0" smtClean="0"/>
            <a:t>Оценка эффективности деятельности руководителей организаций группы лиц ООО «Газпром </a:t>
          </a:r>
          <a:r>
            <a:rPr lang="ru-RU" sz="2000" dirty="0" err="1" smtClean="0"/>
            <a:t>межрегионгаз</a:t>
          </a:r>
          <a:r>
            <a:rPr lang="ru-RU" sz="2000" dirty="0" smtClean="0"/>
            <a:t>»;</a:t>
          </a:r>
          <a:endParaRPr lang="ru-RU" sz="2000" dirty="0"/>
        </a:p>
      </dgm:t>
    </dgm:pt>
    <dgm:pt modelId="{E88A0FC8-0C92-4B2A-8E19-1E457D36FC75}" type="parTrans" cxnId="{201534AD-235A-40DA-AFE7-3A87B8BFAF29}">
      <dgm:prSet/>
      <dgm:spPr/>
      <dgm:t>
        <a:bodyPr/>
        <a:lstStyle/>
        <a:p>
          <a:endParaRPr lang="ru-RU" sz="2000"/>
        </a:p>
      </dgm:t>
    </dgm:pt>
    <dgm:pt modelId="{2739145F-7CAE-4689-B705-276BD7AC68CC}" type="sibTrans" cxnId="{201534AD-235A-40DA-AFE7-3A87B8BFAF29}">
      <dgm:prSet/>
      <dgm:spPr/>
      <dgm:t>
        <a:bodyPr/>
        <a:lstStyle/>
        <a:p>
          <a:endParaRPr lang="ru-RU" sz="2000"/>
        </a:p>
      </dgm:t>
    </dgm:pt>
    <dgm:pt modelId="{0F90CCEA-78F7-419B-8C47-38D36A1A7996}">
      <dgm:prSet custT="1"/>
      <dgm:spPr/>
      <dgm:t>
        <a:bodyPr/>
        <a:lstStyle/>
        <a:p>
          <a:r>
            <a:rPr lang="ru-RU" sz="2000" dirty="0" smtClean="0"/>
            <a:t>Утверждение инвестиционных программ организаций группы лиц ООО «Газпром межрегионгаз» с учетом мероприятий Программы;</a:t>
          </a:r>
          <a:endParaRPr lang="ru-RU" sz="2000" dirty="0"/>
        </a:p>
      </dgm:t>
    </dgm:pt>
    <dgm:pt modelId="{82071860-3043-485B-B51F-0AD16EC470CE}" type="parTrans" cxnId="{9EA3A586-604B-49A7-85ED-CD4C73193174}">
      <dgm:prSet/>
      <dgm:spPr/>
      <dgm:t>
        <a:bodyPr/>
        <a:lstStyle/>
        <a:p>
          <a:endParaRPr lang="ru-RU" sz="2000"/>
        </a:p>
      </dgm:t>
    </dgm:pt>
    <dgm:pt modelId="{19BEDDA7-921F-459E-89ED-CC9077D00804}" type="sibTrans" cxnId="{9EA3A586-604B-49A7-85ED-CD4C73193174}">
      <dgm:prSet/>
      <dgm:spPr/>
      <dgm:t>
        <a:bodyPr/>
        <a:lstStyle/>
        <a:p>
          <a:endParaRPr lang="ru-RU" sz="2000"/>
        </a:p>
      </dgm:t>
    </dgm:pt>
    <dgm:pt modelId="{903ED059-1B0F-4AB7-AFF3-66F3283578D0}">
      <dgm:prSet custT="1"/>
      <dgm:spPr/>
      <dgm:t>
        <a:bodyPr/>
        <a:lstStyle/>
        <a:p>
          <a:r>
            <a:rPr lang="ru-RU" sz="2000" dirty="0" smtClean="0"/>
            <a:t>Организация взаимодействия с АО «Газпром газомоторное топливо» направленного на расширение существующей газозаправочной инфраструктуры;</a:t>
          </a:r>
          <a:endParaRPr lang="ru-RU" sz="2000" dirty="0"/>
        </a:p>
      </dgm:t>
    </dgm:pt>
    <dgm:pt modelId="{677A918C-3E08-48D2-87BA-01503F770E30}" type="parTrans" cxnId="{E6371120-7443-43B3-9BAA-83F03A0F8D6C}">
      <dgm:prSet/>
      <dgm:spPr/>
      <dgm:t>
        <a:bodyPr/>
        <a:lstStyle/>
        <a:p>
          <a:endParaRPr lang="ru-RU" sz="2000"/>
        </a:p>
      </dgm:t>
    </dgm:pt>
    <dgm:pt modelId="{2FBB5103-C2EB-4681-96F1-58BBA066C003}" type="sibTrans" cxnId="{E6371120-7443-43B3-9BAA-83F03A0F8D6C}">
      <dgm:prSet/>
      <dgm:spPr/>
      <dgm:t>
        <a:bodyPr/>
        <a:lstStyle/>
        <a:p>
          <a:endParaRPr lang="ru-RU" sz="2000"/>
        </a:p>
      </dgm:t>
    </dgm:pt>
    <dgm:pt modelId="{FC800E2E-54DA-4644-AFC2-16D0E25872B3}">
      <dgm:prSet custT="1"/>
      <dgm:spPr/>
      <dgm:t>
        <a:bodyPr/>
        <a:lstStyle/>
        <a:p>
          <a:r>
            <a:rPr lang="ru-RU" sz="2000" dirty="0" smtClean="0"/>
            <a:t>Организация взаимодействия с производителями и поставщиками газобаллонных автомобилей. </a:t>
          </a:r>
          <a:endParaRPr lang="ru-RU" sz="2000" dirty="0"/>
        </a:p>
      </dgm:t>
    </dgm:pt>
    <dgm:pt modelId="{036ADCE3-F177-40AA-830E-ECE46850FE23}" type="parTrans" cxnId="{156287F9-EB75-4954-AC18-067997771A2D}">
      <dgm:prSet/>
      <dgm:spPr/>
      <dgm:t>
        <a:bodyPr/>
        <a:lstStyle/>
        <a:p>
          <a:endParaRPr lang="ru-RU" sz="2000"/>
        </a:p>
      </dgm:t>
    </dgm:pt>
    <dgm:pt modelId="{54FB6E01-E3F2-4AD1-9244-40B0783C63E1}" type="sibTrans" cxnId="{156287F9-EB75-4954-AC18-067997771A2D}">
      <dgm:prSet/>
      <dgm:spPr/>
      <dgm:t>
        <a:bodyPr/>
        <a:lstStyle/>
        <a:p>
          <a:endParaRPr lang="ru-RU" sz="2000"/>
        </a:p>
      </dgm:t>
    </dgm:pt>
    <dgm:pt modelId="{F264D070-D012-4C84-9FE2-396CD750675B}">
      <dgm:prSet phldrT="[Текст]" custT="1"/>
      <dgm:spPr/>
      <dgm:t>
        <a:bodyPr/>
        <a:lstStyle/>
        <a:p>
          <a:r>
            <a:rPr lang="ru-RU" sz="2000" dirty="0" smtClean="0"/>
            <a:t>Уполномоченными органами правления ДЗО принято приоритетным направлением «исполнение Программы»;</a:t>
          </a:r>
          <a:endParaRPr lang="ru-RU" sz="2000" dirty="0"/>
        </a:p>
      </dgm:t>
    </dgm:pt>
    <dgm:pt modelId="{4339B3D4-C16F-47FA-9ACD-08E2E139E309}" type="parTrans" cxnId="{B104D7E8-5B70-4280-800E-2C2EE9B737F7}">
      <dgm:prSet/>
      <dgm:spPr/>
      <dgm:t>
        <a:bodyPr/>
        <a:lstStyle/>
        <a:p>
          <a:endParaRPr lang="ru-RU" sz="2000"/>
        </a:p>
      </dgm:t>
    </dgm:pt>
    <dgm:pt modelId="{13C35735-5E55-4A21-B7EE-AB147918C494}" type="sibTrans" cxnId="{B104D7E8-5B70-4280-800E-2C2EE9B737F7}">
      <dgm:prSet/>
      <dgm:spPr/>
      <dgm:t>
        <a:bodyPr/>
        <a:lstStyle/>
        <a:p>
          <a:endParaRPr lang="ru-RU" sz="2000"/>
        </a:p>
      </dgm:t>
    </dgm:pt>
    <dgm:pt modelId="{E13A621F-7BD6-47F4-AA3D-1578842B55DD}">
      <dgm:prSet phldrT="[Текст]" custT="1"/>
      <dgm:spPr/>
      <dgm:t>
        <a:bodyPr/>
        <a:lstStyle/>
        <a:p>
          <a:r>
            <a:rPr lang="ru-RU" sz="1800" dirty="0" smtClean="0"/>
            <a:t>2</a:t>
          </a:r>
          <a:endParaRPr lang="ru-RU" sz="1800" dirty="0"/>
        </a:p>
      </dgm:t>
    </dgm:pt>
    <dgm:pt modelId="{E8868F14-79D8-46AA-97B3-6A62267F14D6}" type="parTrans" cxnId="{F319C6AE-3B1A-4356-8944-0F29C809261E}">
      <dgm:prSet/>
      <dgm:spPr/>
      <dgm:t>
        <a:bodyPr/>
        <a:lstStyle/>
        <a:p>
          <a:endParaRPr lang="ru-RU" sz="2000"/>
        </a:p>
      </dgm:t>
    </dgm:pt>
    <dgm:pt modelId="{002D624A-602F-4ED8-8E01-2D205C945990}" type="sibTrans" cxnId="{F319C6AE-3B1A-4356-8944-0F29C809261E}">
      <dgm:prSet/>
      <dgm:spPr/>
      <dgm:t>
        <a:bodyPr/>
        <a:lstStyle/>
        <a:p>
          <a:endParaRPr lang="ru-RU" sz="2000"/>
        </a:p>
      </dgm:t>
    </dgm:pt>
    <dgm:pt modelId="{3B64417F-0CD0-4B15-9D26-B71F90FB9158}" type="pres">
      <dgm:prSet presAssocID="{8E4CAD48-0CC5-4B89-9977-4EE6E705013F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EF731B3-7EEA-4331-B050-DEDBA88AD787}" type="pres">
      <dgm:prSet presAssocID="{AC125896-9D4A-4AB7-8C3D-BBEA98FAC714}" presName="composite" presStyleCnt="0"/>
      <dgm:spPr/>
    </dgm:pt>
    <dgm:pt modelId="{C662A001-9A9C-4809-8EB9-589EB6E3D020}" type="pres">
      <dgm:prSet presAssocID="{AC125896-9D4A-4AB7-8C3D-BBEA98FAC714}" presName="parentText" presStyleLbl="alignNode1" presStyleIdx="0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C5B587D-59E8-4BA7-9384-1A1D61BF4DAC}" type="pres">
      <dgm:prSet presAssocID="{AC125896-9D4A-4AB7-8C3D-BBEA98FAC714}" presName="descendantText" presStyleLbl="alignAcc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AAE274F-4C30-4CC1-AEE8-047E28AD4DF4}" type="pres">
      <dgm:prSet presAssocID="{301FEC22-88AD-4EB6-87C7-12259884873E}" presName="sp" presStyleCnt="0"/>
      <dgm:spPr/>
    </dgm:pt>
    <dgm:pt modelId="{80AFBCD7-30E0-4ECC-A37A-2D5527B08F0A}" type="pres">
      <dgm:prSet presAssocID="{E13A621F-7BD6-47F4-AA3D-1578842B55DD}" presName="composite" presStyleCnt="0"/>
      <dgm:spPr/>
    </dgm:pt>
    <dgm:pt modelId="{E81E909E-5DFC-4E09-858B-32FBEE62D995}" type="pres">
      <dgm:prSet presAssocID="{E13A621F-7BD6-47F4-AA3D-1578842B55DD}" presName="parentText" presStyleLbl="align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6E2838E-F3CA-44D9-959C-F06D04745197}" type="pres">
      <dgm:prSet presAssocID="{E13A621F-7BD6-47F4-AA3D-1578842B55DD}" presName="descendantText" presStyleLbl="alignAcc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22120F5-5244-4D32-B72D-95AA85ED6B6D}" type="pres">
      <dgm:prSet presAssocID="{002D624A-602F-4ED8-8E01-2D205C945990}" presName="sp" presStyleCnt="0"/>
      <dgm:spPr/>
    </dgm:pt>
    <dgm:pt modelId="{0C5639D9-6075-47CD-BA32-3B61E2A6A283}" type="pres">
      <dgm:prSet presAssocID="{293B6DAF-7ABB-482B-AB89-34C00FA96F55}" presName="composite" presStyleCnt="0"/>
      <dgm:spPr/>
    </dgm:pt>
    <dgm:pt modelId="{B259F191-4BE4-4945-8659-AAF2B0116CDD}" type="pres">
      <dgm:prSet presAssocID="{293B6DAF-7ABB-482B-AB89-34C00FA96F55}" presName="parentText" presStyleLbl="align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1CDDA60-B9CA-4B0C-A914-1C6E5303A23B}" type="pres">
      <dgm:prSet presAssocID="{293B6DAF-7ABB-482B-AB89-34C00FA96F55}" presName="descendantText" presStyleLbl="alignAcc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4788E12-85B7-4E97-852C-79879DF6DECD}" type="pres">
      <dgm:prSet presAssocID="{2D3A73A2-3334-4C9B-9A50-BB6678ED2127}" presName="sp" presStyleCnt="0"/>
      <dgm:spPr/>
    </dgm:pt>
    <dgm:pt modelId="{6FEF2D2D-F2E0-4355-9255-1987650F5E9E}" type="pres">
      <dgm:prSet presAssocID="{1DD9F692-34E9-4080-9C4A-74A4926DDCD4}" presName="composite" presStyleCnt="0"/>
      <dgm:spPr/>
    </dgm:pt>
    <dgm:pt modelId="{E811FFDC-05BE-49C8-B4C1-15B7BA8B53EA}" type="pres">
      <dgm:prSet presAssocID="{1DD9F692-34E9-4080-9C4A-74A4926DDCD4}" presName="parentText" presStyleLbl="align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F93D59C-2F55-4F08-B859-5F0E1782003F}" type="pres">
      <dgm:prSet presAssocID="{1DD9F692-34E9-4080-9C4A-74A4926DDCD4}" presName="descendantText" presStyleLbl="alignAcc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6787526-E989-4BB9-B790-DB1526A22E3C}" type="pres">
      <dgm:prSet presAssocID="{392D3273-5C26-4524-989E-C8205861EFA1}" presName="sp" presStyleCnt="0"/>
      <dgm:spPr/>
    </dgm:pt>
    <dgm:pt modelId="{A7CB32EA-2F82-4C69-9A1B-52F339BEDD41}" type="pres">
      <dgm:prSet presAssocID="{69D67436-1C92-4AEF-9134-B1F9D0A5CC5D}" presName="composite" presStyleCnt="0"/>
      <dgm:spPr/>
    </dgm:pt>
    <dgm:pt modelId="{272A1177-6373-49C3-90D8-EDEA7224203B}" type="pres">
      <dgm:prSet presAssocID="{69D67436-1C92-4AEF-9134-B1F9D0A5CC5D}" presName="parentText" presStyleLbl="alignNode1" presStyleIdx="4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040907-B277-4A84-8870-99F28BB954EC}" type="pres">
      <dgm:prSet presAssocID="{69D67436-1C92-4AEF-9134-B1F9D0A5CC5D}" presName="descendantText" presStyleLbl="alignAcc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79C69F6-2F11-4B9F-A852-B99DDA30FFCB}" type="pres">
      <dgm:prSet presAssocID="{E11A1DF4-74A6-4548-8897-0419B80FCC99}" presName="sp" presStyleCnt="0"/>
      <dgm:spPr/>
    </dgm:pt>
    <dgm:pt modelId="{40DBFAF4-CDB9-40F3-8ACA-2183C0870C5F}" type="pres">
      <dgm:prSet presAssocID="{7CBCA474-06D8-4298-8754-BAE3B21833EC}" presName="composite" presStyleCnt="0"/>
      <dgm:spPr/>
    </dgm:pt>
    <dgm:pt modelId="{6CA7E435-2E05-4A88-A84E-3550203D4EAA}" type="pres">
      <dgm:prSet presAssocID="{7CBCA474-06D8-4298-8754-BAE3B21833EC}" presName="parentText" presStyleLbl="alignNode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B1204D5-2B3B-460B-8916-0795BBBDDA44}" type="pres">
      <dgm:prSet presAssocID="{7CBCA474-06D8-4298-8754-BAE3B21833EC}" presName="descendantText" presStyleLbl="alignAcc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B9DEE1D-846A-4CD3-993B-ECD2BE49A244}" type="presOf" srcId="{E13A621F-7BD6-47F4-AA3D-1578842B55DD}" destId="{E81E909E-5DFC-4E09-858B-32FBEE62D995}" srcOrd="0" destOrd="0" presId="urn:microsoft.com/office/officeart/2005/8/layout/chevron2"/>
    <dgm:cxn modelId="{BFDD5BFC-CC71-4871-848A-744546D71881}" srcId="{8E4CAD48-0CC5-4B89-9977-4EE6E705013F}" destId="{7CBCA474-06D8-4298-8754-BAE3B21833EC}" srcOrd="5" destOrd="0" parTransId="{58260522-686E-4896-99BA-08C4C74AC5F0}" sibTransId="{B1F75636-F22E-41DC-8121-28141CDB909C}"/>
    <dgm:cxn modelId="{705B0341-0786-48E0-A50D-444BE5973071}" type="presOf" srcId="{F264D070-D012-4C84-9FE2-396CD750675B}" destId="{4C5B587D-59E8-4BA7-9384-1A1D61BF4DAC}" srcOrd="0" destOrd="0" presId="urn:microsoft.com/office/officeart/2005/8/layout/chevron2"/>
    <dgm:cxn modelId="{53B37D4D-6FF1-48D1-A9B1-B0118F6086C1}" type="presOf" srcId="{7CBCA474-06D8-4298-8754-BAE3B21833EC}" destId="{6CA7E435-2E05-4A88-A84E-3550203D4EAA}" srcOrd="0" destOrd="0" presId="urn:microsoft.com/office/officeart/2005/8/layout/chevron2"/>
    <dgm:cxn modelId="{9E313F3E-06D8-45DD-A059-59C3935BBB2E}" srcId="{8E4CAD48-0CC5-4B89-9977-4EE6E705013F}" destId="{293B6DAF-7ABB-482B-AB89-34C00FA96F55}" srcOrd="2" destOrd="0" parTransId="{CA1860F2-7F8B-454E-9D01-3345BAC7AC32}" sibTransId="{2D3A73A2-3334-4C9B-9A50-BB6678ED2127}"/>
    <dgm:cxn modelId="{17AD6807-A458-4846-B7B3-B375E325A629}" type="presOf" srcId="{293B6DAF-7ABB-482B-AB89-34C00FA96F55}" destId="{B259F191-4BE4-4945-8659-AAF2B0116CDD}" srcOrd="0" destOrd="0" presId="urn:microsoft.com/office/officeart/2005/8/layout/chevron2"/>
    <dgm:cxn modelId="{470187AA-9F35-4158-8F61-F4002A59003E}" type="presOf" srcId="{1DD9F692-34E9-4080-9C4A-74A4926DDCD4}" destId="{E811FFDC-05BE-49C8-B4C1-15B7BA8B53EA}" srcOrd="0" destOrd="0" presId="urn:microsoft.com/office/officeart/2005/8/layout/chevron2"/>
    <dgm:cxn modelId="{B104D7E8-5B70-4280-800E-2C2EE9B737F7}" srcId="{AC125896-9D4A-4AB7-8C3D-BBEA98FAC714}" destId="{F264D070-D012-4C84-9FE2-396CD750675B}" srcOrd="0" destOrd="0" parTransId="{4339B3D4-C16F-47FA-9ACD-08E2E139E309}" sibTransId="{13C35735-5E55-4A21-B7EE-AB147918C494}"/>
    <dgm:cxn modelId="{5549CB42-6555-465D-BE8E-F5CE3717973B}" srcId="{8E4CAD48-0CC5-4B89-9977-4EE6E705013F}" destId="{1DD9F692-34E9-4080-9C4A-74A4926DDCD4}" srcOrd="3" destOrd="0" parTransId="{68D9F9DB-88CD-42F1-AF66-84E73E4A5952}" sibTransId="{392D3273-5C26-4524-989E-C8205861EFA1}"/>
    <dgm:cxn modelId="{1EC9F23D-9DFA-4964-AF20-3B04677B2113}" type="presOf" srcId="{AC125896-9D4A-4AB7-8C3D-BBEA98FAC714}" destId="{C662A001-9A9C-4809-8EB9-589EB6E3D020}" srcOrd="0" destOrd="0" presId="urn:microsoft.com/office/officeart/2005/8/layout/chevron2"/>
    <dgm:cxn modelId="{C9BA8BE9-E414-42A7-AB9A-894AFCF4F6FF}" srcId="{E13A621F-7BD6-47F4-AA3D-1578842B55DD}" destId="{5D9EBC0B-D422-4FA8-86F4-FE2C9AEF9545}" srcOrd="0" destOrd="0" parTransId="{5B048795-C7E4-41A6-AA9D-62878846FC32}" sibTransId="{F329870E-96AA-4B0E-9CA4-315671C4AACE}"/>
    <dgm:cxn modelId="{21422FA5-7512-4FC1-81B9-3608F1C766A5}" type="presOf" srcId="{903ED059-1B0F-4AB7-AFF3-66F3283578D0}" destId="{8B040907-B277-4A84-8870-99F28BB954EC}" srcOrd="0" destOrd="0" presId="urn:microsoft.com/office/officeart/2005/8/layout/chevron2"/>
    <dgm:cxn modelId="{156287F9-EB75-4954-AC18-067997771A2D}" srcId="{7CBCA474-06D8-4298-8754-BAE3B21833EC}" destId="{FC800E2E-54DA-4644-AFC2-16D0E25872B3}" srcOrd="0" destOrd="0" parTransId="{036ADCE3-F177-40AA-830E-ECE46850FE23}" sibTransId="{54FB6E01-E3F2-4AD1-9244-40B0783C63E1}"/>
    <dgm:cxn modelId="{F0BD79A5-8EF9-4E84-A9A8-43A11E65D8BC}" type="presOf" srcId="{5D9EBC0B-D422-4FA8-86F4-FE2C9AEF9545}" destId="{56E2838E-F3CA-44D9-959C-F06D04745197}" srcOrd="0" destOrd="0" presId="urn:microsoft.com/office/officeart/2005/8/layout/chevron2"/>
    <dgm:cxn modelId="{1507D679-0C57-4819-BAD5-801885552B40}" type="presOf" srcId="{69D67436-1C92-4AEF-9134-B1F9D0A5CC5D}" destId="{272A1177-6373-49C3-90D8-EDEA7224203B}" srcOrd="0" destOrd="0" presId="urn:microsoft.com/office/officeart/2005/8/layout/chevron2"/>
    <dgm:cxn modelId="{9EA3A586-604B-49A7-85ED-CD4C73193174}" srcId="{1DD9F692-34E9-4080-9C4A-74A4926DDCD4}" destId="{0F90CCEA-78F7-419B-8C47-38D36A1A7996}" srcOrd="0" destOrd="0" parTransId="{82071860-3043-485B-B51F-0AD16EC470CE}" sibTransId="{19BEDDA7-921F-459E-89ED-CC9077D00804}"/>
    <dgm:cxn modelId="{33962713-EF4C-4688-959D-50FB50A2F699}" type="presOf" srcId="{FC800E2E-54DA-4644-AFC2-16D0E25872B3}" destId="{0B1204D5-2B3B-460B-8916-0795BBBDDA44}" srcOrd="0" destOrd="0" presId="urn:microsoft.com/office/officeart/2005/8/layout/chevron2"/>
    <dgm:cxn modelId="{7AA0ADBF-5292-4450-98C9-5D81DAB35398}" type="presOf" srcId="{8E4CAD48-0CC5-4B89-9977-4EE6E705013F}" destId="{3B64417F-0CD0-4B15-9D26-B71F90FB9158}" srcOrd="0" destOrd="0" presId="urn:microsoft.com/office/officeart/2005/8/layout/chevron2"/>
    <dgm:cxn modelId="{8E9AE07B-E106-4177-9092-70AF02627B1B}" srcId="{8E4CAD48-0CC5-4B89-9977-4EE6E705013F}" destId="{69D67436-1C92-4AEF-9134-B1F9D0A5CC5D}" srcOrd="4" destOrd="0" parTransId="{79FF3F20-599B-4073-B3A2-994BEDFFAAF5}" sibTransId="{E11A1DF4-74A6-4548-8897-0419B80FCC99}"/>
    <dgm:cxn modelId="{F319C6AE-3B1A-4356-8944-0F29C809261E}" srcId="{8E4CAD48-0CC5-4B89-9977-4EE6E705013F}" destId="{E13A621F-7BD6-47F4-AA3D-1578842B55DD}" srcOrd="1" destOrd="0" parTransId="{E8868F14-79D8-46AA-97B3-6A62267F14D6}" sibTransId="{002D624A-602F-4ED8-8E01-2D205C945990}"/>
    <dgm:cxn modelId="{C36D7247-5F9A-42C1-A138-104D88501FBD}" type="presOf" srcId="{C38916E0-610F-4312-B5CF-5DB8EDAD181C}" destId="{E1CDDA60-B9CA-4B0C-A914-1C6E5303A23B}" srcOrd="0" destOrd="0" presId="urn:microsoft.com/office/officeart/2005/8/layout/chevron2"/>
    <dgm:cxn modelId="{E6371120-7443-43B3-9BAA-83F03A0F8D6C}" srcId="{69D67436-1C92-4AEF-9134-B1F9D0A5CC5D}" destId="{903ED059-1B0F-4AB7-AFF3-66F3283578D0}" srcOrd="0" destOrd="0" parTransId="{677A918C-3E08-48D2-87BA-01503F770E30}" sibTransId="{2FBB5103-C2EB-4681-96F1-58BBA066C003}"/>
    <dgm:cxn modelId="{3901ED3A-155B-4240-93BC-1CC82028B594}" type="presOf" srcId="{0F90CCEA-78F7-419B-8C47-38D36A1A7996}" destId="{2F93D59C-2F55-4F08-B859-5F0E1782003F}" srcOrd="0" destOrd="0" presId="urn:microsoft.com/office/officeart/2005/8/layout/chevron2"/>
    <dgm:cxn modelId="{201534AD-235A-40DA-AFE7-3A87B8BFAF29}" srcId="{293B6DAF-7ABB-482B-AB89-34C00FA96F55}" destId="{C38916E0-610F-4312-B5CF-5DB8EDAD181C}" srcOrd="0" destOrd="0" parTransId="{E88A0FC8-0C92-4B2A-8E19-1E457D36FC75}" sibTransId="{2739145F-7CAE-4689-B705-276BD7AC68CC}"/>
    <dgm:cxn modelId="{22721721-146B-4AA9-9338-2C55A6A4F5E5}" srcId="{8E4CAD48-0CC5-4B89-9977-4EE6E705013F}" destId="{AC125896-9D4A-4AB7-8C3D-BBEA98FAC714}" srcOrd="0" destOrd="0" parTransId="{3C2DDBF8-8A40-4275-B6D1-F55235F3A3C1}" sibTransId="{301FEC22-88AD-4EB6-87C7-12259884873E}"/>
    <dgm:cxn modelId="{F4B873FD-4799-4313-8DA2-585248B95F89}" type="presParOf" srcId="{3B64417F-0CD0-4B15-9D26-B71F90FB9158}" destId="{0EF731B3-7EEA-4331-B050-DEDBA88AD787}" srcOrd="0" destOrd="0" presId="urn:microsoft.com/office/officeart/2005/8/layout/chevron2"/>
    <dgm:cxn modelId="{77664D84-8C31-4F7C-BA92-F2F99B7740FF}" type="presParOf" srcId="{0EF731B3-7EEA-4331-B050-DEDBA88AD787}" destId="{C662A001-9A9C-4809-8EB9-589EB6E3D020}" srcOrd="0" destOrd="0" presId="urn:microsoft.com/office/officeart/2005/8/layout/chevron2"/>
    <dgm:cxn modelId="{F8B2D662-B13D-4B52-A914-653627433889}" type="presParOf" srcId="{0EF731B3-7EEA-4331-B050-DEDBA88AD787}" destId="{4C5B587D-59E8-4BA7-9384-1A1D61BF4DAC}" srcOrd="1" destOrd="0" presId="urn:microsoft.com/office/officeart/2005/8/layout/chevron2"/>
    <dgm:cxn modelId="{D7A7CDD6-7943-4F35-9B68-79CDF012CDA1}" type="presParOf" srcId="{3B64417F-0CD0-4B15-9D26-B71F90FB9158}" destId="{0AAE274F-4C30-4CC1-AEE8-047E28AD4DF4}" srcOrd="1" destOrd="0" presId="urn:microsoft.com/office/officeart/2005/8/layout/chevron2"/>
    <dgm:cxn modelId="{B683388B-4828-4A6E-8801-823DD65B8EEC}" type="presParOf" srcId="{3B64417F-0CD0-4B15-9D26-B71F90FB9158}" destId="{80AFBCD7-30E0-4ECC-A37A-2D5527B08F0A}" srcOrd="2" destOrd="0" presId="urn:microsoft.com/office/officeart/2005/8/layout/chevron2"/>
    <dgm:cxn modelId="{79CA32E7-3946-4F7F-8535-F71ECFF3B8AD}" type="presParOf" srcId="{80AFBCD7-30E0-4ECC-A37A-2D5527B08F0A}" destId="{E81E909E-5DFC-4E09-858B-32FBEE62D995}" srcOrd="0" destOrd="0" presId="urn:microsoft.com/office/officeart/2005/8/layout/chevron2"/>
    <dgm:cxn modelId="{81512C17-3A9C-47EB-BD27-8053FD82543F}" type="presParOf" srcId="{80AFBCD7-30E0-4ECC-A37A-2D5527B08F0A}" destId="{56E2838E-F3CA-44D9-959C-F06D04745197}" srcOrd="1" destOrd="0" presId="urn:microsoft.com/office/officeart/2005/8/layout/chevron2"/>
    <dgm:cxn modelId="{634CD23C-E9B8-45F7-A43E-A49B84CFA7F1}" type="presParOf" srcId="{3B64417F-0CD0-4B15-9D26-B71F90FB9158}" destId="{522120F5-5244-4D32-B72D-95AA85ED6B6D}" srcOrd="3" destOrd="0" presId="urn:microsoft.com/office/officeart/2005/8/layout/chevron2"/>
    <dgm:cxn modelId="{2105FABB-4037-4E5C-BF5F-03030725A68F}" type="presParOf" srcId="{3B64417F-0CD0-4B15-9D26-B71F90FB9158}" destId="{0C5639D9-6075-47CD-BA32-3B61E2A6A283}" srcOrd="4" destOrd="0" presId="urn:microsoft.com/office/officeart/2005/8/layout/chevron2"/>
    <dgm:cxn modelId="{0074A96C-822C-4631-B64E-FEDF68587AD9}" type="presParOf" srcId="{0C5639D9-6075-47CD-BA32-3B61E2A6A283}" destId="{B259F191-4BE4-4945-8659-AAF2B0116CDD}" srcOrd="0" destOrd="0" presId="urn:microsoft.com/office/officeart/2005/8/layout/chevron2"/>
    <dgm:cxn modelId="{A29913C1-61F2-4E40-AF00-45670569A55F}" type="presParOf" srcId="{0C5639D9-6075-47CD-BA32-3B61E2A6A283}" destId="{E1CDDA60-B9CA-4B0C-A914-1C6E5303A23B}" srcOrd="1" destOrd="0" presId="urn:microsoft.com/office/officeart/2005/8/layout/chevron2"/>
    <dgm:cxn modelId="{43A5FA7E-0CC9-467D-84DB-BEC368033211}" type="presParOf" srcId="{3B64417F-0CD0-4B15-9D26-B71F90FB9158}" destId="{C4788E12-85B7-4E97-852C-79879DF6DECD}" srcOrd="5" destOrd="0" presId="urn:microsoft.com/office/officeart/2005/8/layout/chevron2"/>
    <dgm:cxn modelId="{453749BD-1528-439C-94C5-6A6DDAC85C3B}" type="presParOf" srcId="{3B64417F-0CD0-4B15-9D26-B71F90FB9158}" destId="{6FEF2D2D-F2E0-4355-9255-1987650F5E9E}" srcOrd="6" destOrd="0" presId="urn:microsoft.com/office/officeart/2005/8/layout/chevron2"/>
    <dgm:cxn modelId="{7B922029-6BA5-4EC3-9871-2FF7D12DC994}" type="presParOf" srcId="{6FEF2D2D-F2E0-4355-9255-1987650F5E9E}" destId="{E811FFDC-05BE-49C8-B4C1-15B7BA8B53EA}" srcOrd="0" destOrd="0" presId="urn:microsoft.com/office/officeart/2005/8/layout/chevron2"/>
    <dgm:cxn modelId="{C77FE301-6178-4E2D-80B6-523B66C77C17}" type="presParOf" srcId="{6FEF2D2D-F2E0-4355-9255-1987650F5E9E}" destId="{2F93D59C-2F55-4F08-B859-5F0E1782003F}" srcOrd="1" destOrd="0" presId="urn:microsoft.com/office/officeart/2005/8/layout/chevron2"/>
    <dgm:cxn modelId="{1BBF20DE-87EA-41EF-92DF-32C7B3910728}" type="presParOf" srcId="{3B64417F-0CD0-4B15-9D26-B71F90FB9158}" destId="{F6787526-E989-4BB9-B790-DB1526A22E3C}" srcOrd="7" destOrd="0" presId="urn:microsoft.com/office/officeart/2005/8/layout/chevron2"/>
    <dgm:cxn modelId="{23E3A164-342B-4935-B9A8-ED96423A7E9C}" type="presParOf" srcId="{3B64417F-0CD0-4B15-9D26-B71F90FB9158}" destId="{A7CB32EA-2F82-4C69-9A1B-52F339BEDD41}" srcOrd="8" destOrd="0" presId="urn:microsoft.com/office/officeart/2005/8/layout/chevron2"/>
    <dgm:cxn modelId="{3C282A1C-FAD9-496F-AB19-C986290D5FDA}" type="presParOf" srcId="{A7CB32EA-2F82-4C69-9A1B-52F339BEDD41}" destId="{272A1177-6373-49C3-90D8-EDEA7224203B}" srcOrd="0" destOrd="0" presId="urn:microsoft.com/office/officeart/2005/8/layout/chevron2"/>
    <dgm:cxn modelId="{543C12A4-5CA1-4F55-B463-B005DC244B0E}" type="presParOf" srcId="{A7CB32EA-2F82-4C69-9A1B-52F339BEDD41}" destId="{8B040907-B277-4A84-8870-99F28BB954EC}" srcOrd="1" destOrd="0" presId="urn:microsoft.com/office/officeart/2005/8/layout/chevron2"/>
    <dgm:cxn modelId="{47D6EDD5-E0B5-4C2D-ADA5-DA632C28CC52}" type="presParOf" srcId="{3B64417F-0CD0-4B15-9D26-B71F90FB9158}" destId="{979C69F6-2F11-4B9F-A852-B99DDA30FFCB}" srcOrd="9" destOrd="0" presId="urn:microsoft.com/office/officeart/2005/8/layout/chevron2"/>
    <dgm:cxn modelId="{B362FF5A-48D3-43BF-BAFC-0A4D1CC70F78}" type="presParOf" srcId="{3B64417F-0CD0-4B15-9D26-B71F90FB9158}" destId="{40DBFAF4-CDB9-40F3-8ACA-2183C0870C5F}" srcOrd="10" destOrd="0" presId="urn:microsoft.com/office/officeart/2005/8/layout/chevron2"/>
    <dgm:cxn modelId="{58D8EEC7-4429-4465-9383-6BA84187399B}" type="presParOf" srcId="{40DBFAF4-CDB9-40F3-8ACA-2183C0870C5F}" destId="{6CA7E435-2E05-4A88-A84E-3550203D4EAA}" srcOrd="0" destOrd="0" presId="urn:microsoft.com/office/officeart/2005/8/layout/chevron2"/>
    <dgm:cxn modelId="{46D92CAA-583A-4C3B-8B28-DBFA6D4B592A}" type="presParOf" srcId="{40DBFAF4-CDB9-40F3-8ACA-2183C0870C5F}" destId="{0B1204D5-2B3B-460B-8916-0795BBBDDA44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BB19C16-A576-468C-9D08-FD301857469F}" type="doc">
      <dgm:prSet loTypeId="urn:microsoft.com/office/officeart/2008/layout/VerticalCurvedLis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8C48E281-92A6-4B0B-B27A-665A70A1B68B}">
      <dgm:prSet phldrT="[Текст]"/>
      <dgm:spPr/>
      <dgm:t>
        <a:bodyPr/>
        <a:lstStyle/>
        <a:p>
          <a:r>
            <a:rPr lang="ru-RU" dirty="0" smtClean="0"/>
            <a:t>наличие действующих объектов газомоторной инфраструктуры в регионе присутствия </a:t>
          </a:r>
          <a:r>
            <a:rPr lang="ru-RU" dirty="0" smtClean="0"/>
            <a:t>ДЗО;</a:t>
          </a:r>
          <a:endParaRPr lang="ru-RU" dirty="0"/>
        </a:p>
      </dgm:t>
    </dgm:pt>
    <dgm:pt modelId="{C21D6488-B7FD-4BE2-9BB4-95D8AE58D69A}" type="parTrans" cxnId="{6915D1A8-CC32-496D-845F-FAE4B5E896CC}">
      <dgm:prSet/>
      <dgm:spPr/>
      <dgm:t>
        <a:bodyPr/>
        <a:lstStyle/>
        <a:p>
          <a:endParaRPr lang="ru-RU"/>
        </a:p>
      </dgm:t>
    </dgm:pt>
    <dgm:pt modelId="{073E3E50-BBC8-424B-BC5D-E30B0569BD28}" type="sibTrans" cxnId="{6915D1A8-CC32-496D-845F-FAE4B5E896CC}">
      <dgm:prSet/>
      <dgm:spPr/>
      <dgm:t>
        <a:bodyPr/>
        <a:lstStyle/>
        <a:p>
          <a:endParaRPr lang="ru-RU"/>
        </a:p>
      </dgm:t>
    </dgm:pt>
    <dgm:pt modelId="{193987FC-66D0-493A-84F8-29AC0E953ED2}">
      <dgm:prSet/>
      <dgm:spPr/>
      <dgm:t>
        <a:bodyPr/>
        <a:lstStyle/>
        <a:p>
          <a:r>
            <a:rPr lang="ru-RU" smtClean="0"/>
            <a:t>величина экономии на топливе;</a:t>
          </a:r>
          <a:endParaRPr lang="ru-RU"/>
        </a:p>
      </dgm:t>
    </dgm:pt>
    <dgm:pt modelId="{B4F82903-3387-4B1A-8C87-41808D91C1BF}" type="parTrans" cxnId="{3B50F5AB-1607-48FB-B33D-8E7489A47D21}">
      <dgm:prSet/>
      <dgm:spPr/>
      <dgm:t>
        <a:bodyPr/>
        <a:lstStyle/>
        <a:p>
          <a:endParaRPr lang="ru-RU"/>
        </a:p>
      </dgm:t>
    </dgm:pt>
    <dgm:pt modelId="{FC9D852A-5D0D-4729-9306-5CB767769C44}" type="sibTrans" cxnId="{3B50F5AB-1607-48FB-B33D-8E7489A47D21}">
      <dgm:prSet/>
      <dgm:spPr/>
      <dgm:t>
        <a:bodyPr/>
        <a:lstStyle/>
        <a:p>
          <a:endParaRPr lang="ru-RU"/>
        </a:p>
      </dgm:t>
    </dgm:pt>
    <dgm:pt modelId="{8FC6676B-3F03-486E-A983-0F93D729EA86}">
      <dgm:prSet/>
      <dgm:spPr/>
      <dgm:t>
        <a:bodyPr/>
        <a:lstStyle/>
        <a:p>
          <a:r>
            <a:rPr lang="ru-RU" smtClean="0"/>
            <a:t>сроки окупаемости затрат, связанных с переводом ТС на КПГ.</a:t>
          </a:r>
          <a:endParaRPr lang="ru-RU"/>
        </a:p>
      </dgm:t>
    </dgm:pt>
    <dgm:pt modelId="{2DB2548A-4A7B-4FCA-A142-1CE0303A5F24}" type="parTrans" cxnId="{23758411-CEB0-42F9-958D-A7543552BA27}">
      <dgm:prSet/>
      <dgm:spPr/>
      <dgm:t>
        <a:bodyPr/>
        <a:lstStyle/>
        <a:p>
          <a:endParaRPr lang="ru-RU"/>
        </a:p>
      </dgm:t>
    </dgm:pt>
    <dgm:pt modelId="{830DBF32-78CB-4733-BCC7-1A39EC313D48}" type="sibTrans" cxnId="{23758411-CEB0-42F9-958D-A7543552BA27}">
      <dgm:prSet/>
      <dgm:spPr/>
      <dgm:t>
        <a:bodyPr/>
        <a:lstStyle/>
        <a:p>
          <a:endParaRPr lang="ru-RU"/>
        </a:p>
      </dgm:t>
    </dgm:pt>
    <dgm:pt modelId="{4EA9ECC2-A698-45F1-B984-8BBDACFEDE79}" type="pres">
      <dgm:prSet presAssocID="{8BB19C16-A576-468C-9D08-FD301857469F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D9E19B1E-568B-4E25-9DAD-50457CF1F870}" type="pres">
      <dgm:prSet presAssocID="{8BB19C16-A576-468C-9D08-FD301857469F}" presName="Name1" presStyleCnt="0"/>
      <dgm:spPr/>
    </dgm:pt>
    <dgm:pt modelId="{2E78E118-A6F2-49EB-AB97-2D7B76A67F9D}" type="pres">
      <dgm:prSet presAssocID="{8BB19C16-A576-468C-9D08-FD301857469F}" presName="cycle" presStyleCnt="0"/>
      <dgm:spPr/>
    </dgm:pt>
    <dgm:pt modelId="{9DDE14F5-DBE6-4D3B-9BC6-9F94BE6431CB}" type="pres">
      <dgm:prSet presAssocID="{8BB19C16-A576-468C-9D08-FD301857469F}" presName="srcNode" presStyleLbl="node1" presStyleIdx="0" presStyleCnt="3"/>
      <dgm:spPr/>
    </dgm:pt>
    <dgm:pt modelId="{5BD5270D-B12E-4A79-893B-08DAEB7B9398}" type="pres">
      <dgm:prSet presAssocID="{8BB19C16-A576-468C-9D08-FD301857469F}" presName="conn" presStyleLbl="parChTrans1D2" presStyleIdx="0" presStyleCnt="1"/>
      <dgm:spPr/>
      <dgm:t>
        <a:bodyPr/>
        <a:lstStyle/>
        <a:p>
          <a:endParaRPr lang="ru-RU"/>
        </a:p>
      </dgm:t>
    </dgm:pt>
    <dgm:pt modelId="{EA3288C6-A865-4F7F-8E90-0CDA22C9D235}" type="pres">
      <dgm:prSet presAssocID="{8BB19C16-A576-468C-9D08-FD301857469F}" presName="extraNode" presStyleLbl="node1" presStyleIdx="0" presStyleCnt="3"/>
      <dgm:spPr/>
    </dgm:pt>
    <dgm:pt modelId="{0B966C79-C2A2-4F90-9262-8F22F3EB034D}" type="pres">
      <dgm:prSet presAssocID="{8BB19C16-A576-468C-9D08-FD301857469F}" presName="dstNode" presStyleLbl="node1" presStyleIdx="0" presStyleCnt="3"/>
      <dgm:spPr/>
    </dgm:pt>
    <dgm:pt modelId="{72474173-08D1-4346-B0D1-5FD81B36865D}" type="pres">
      <dgm:prSet presAssocID="{8C48E281-92A6-4B0B-B27A-665A70A1B68B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4226F9F-91FC-4D6E-9F33-356D86406BFE}" type="pres">
      <dgm:prSet presAssocID="{8C48E281-92A6-4B0B-B27A-665A70A1B68B}" presName="accent_1" presStyleCnt="0"/>
      <dgm:spPr/>
    </dgm:pt>
    <dgm:pt modelId="{53E58E4D-35C3-411F-8785-54B73BE818D4}" type="pres">
      <dgm:prSet presAssocID="{8C48E281-92A6-4B0B-B27A-665A70A1B68B}" presName="accentRepeatNode" presStyleLbl="solidFgAcc1" presStyleIdx="0" presStyleCnt="3"/>
      <dgm:spPr/>
    </dgm:pt>
    <dgm:pt modelId="{260EB08A-85D4-4004-8E62-D45088D69D8E}" type="pres">
      <dgm:prSet presAssocID="{193987FC-66D0-493A-84F8-29AC0E953ED2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05BCD33-9E02-40AB-9004-12519B010FDE}" type="pres">
      <dgm:prSet presAssocID="{193987FC-66D0-493A-84F8-29AC0E953ED2}" presName="accent_2" presStyleCnt="0"/>
      <dgm:spPr/>
    </dgm:pt>
    <dgm:pt modelId="{388D91A4-DE2B-40B1-910C-AC184860E800}" type="pres">
      <dgm:prSet presAssocID="{193987FC-66D0-493A-84F8-29AC0E953ED2}" presName="accentRepeatNode" presStyleLbl="solidFgAcc1" presStyleIdx="1" presStyleCnt="3"/>
      <dgm:spPr/>
    </dgm:pt>
    <dgm:pt modelId="{B0D7FC9A-9B80-49BF-B125-43D652E1E136}" type="pres">
      <dgm:prSet presAssocID="{8FC6676B-3F03-486E-A983-0F93D729EA86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E421127-B5C3-4C21-B481-0D312B9DACCD}" type="pres">
      <dgm:prSet presAssocID="{8FC6676B-3F03-486E-A983-0F93D729EA86}" presName="accent_3" presStyleCnt="0"/>
      <dgm:spPr/>
    </dgm:pt>
    <dgm:pt modelId="{BACDD653-6442-49AB-B639-709704423E16}" type="pres">
      <dgm:prSet presAssocID="{8FC6676B-3F03-486E-A983-0F93D729EA86}" presName="accentRepeatNode" presStyleLbl="solidFgAcc1" presStyleIdx="2" presStyleCnt="3"/>
      <dgm:spPr/>
    </dgm:pt>
  </dgm:ptLst>
  <dgm:cxnLst>
    <dgm:cxn modelId="{3B50F5AB-1607-48FB-B33D-8E7489A47D21}" srcId="{8BB19C16-A576-468C-9D08-FD301857469F}" destId="{193987FC-66D0-493A-84F8-29AC0E953ED2}" srcOrd="1" destOrd="0" parTransId="{B4F82903-3387-4B1A-8C87-41808D91C1BF}" sibTransId="{FC9D852A-5D0D-4729-9306-5CB767769C44}"/>
    <dgm:cxn modelId="{92695A27-F720-4D68-A42F-A303E630F712}" type="presOf" srcId="{8FC6676B-3F03-486E-A983-0F93D729EA86}" destId="{B0D7FC9A-9B80-49BF-B125-43D652E1E136}" srcOrd="0" destOrd="0" presId="urn:microsoft.com/office/officeart/2008/layout/VerticalCurvedList"/>
    <dgm:cxn modelId="{3D4E44F0-886E-4772-9ECE-515DF93C50BA}" type="presOf" srcId="{8C48E281-92A6-4B0B-B27A-665A70A1B68B}" destId="{72474173-08D1-4346-B0D1-5FD81B36865D}" srcOrd="0" destOrd="0" presId="urn:microsoft.com/office/officeart/2008/layout/VerticalCurvedList"/>
    <dgm:cxn modelId="{22D501DD-F025-4E24-B187-4D112F4318B1}" type="presOf" srcId="{073E3E50-BBC8-424B-BC5D-E30B0569BD28}" destId="{5BD5270D-B12E-4A79-893B-08DAEB7B9398}" srcOrd="0" destOrd="0" presId="urn:microsoft.com/office/officeart/2008/layout/VerticalCurvedList"/>
    <dgm:cxn modelId="{6915D1A8-CC32-496D-845F-FAE4B5E896CC}" srcId="{8BB19C16-A576-468C-9D08-FD301857469F}" destId="{8C48E281-92A6-4B0B-B27A-665A70A1B68B}" srcOrd="0" destOrd="0" parTransId="{C21D6488-B7FD-4BE2-9BB4-95D8AE58D69A}" sibTransId="{073E3E50-BBC8-424B-BC5D-E30B0569BD28}"/>
    <dgm:cxn modelId="{23758411-CEB0-42F9-958D-A7543552BA27}" srcId="{8BB19C16-A576-468C-9D08-FD301857469F}" destId="{8FC6676B-3F03-486E-A983-0F93D729EA86}" srcOrd="2" destOrd="0" parTransId="{2DB2548A-4A7B-4FCA-A142-1CE0303A5F24}" sibTransId="{830DBF32-78CB-4733-BCC7-1A39EC313D48}"/>
    <dgm:cxn modelId="{24C94702-9642-4523-B560-190FF120B6BF}" type="presOf" srcId="{193987FC-66D0-493A-84F8-29AC0E953ED2}" destId="{260EB08A-85D4-4004-8E62-D45088D69D8E}" srcOrd="0" destOrd="0" presId="urn:microsoft.com/office/officeart/2008/layout/VerticalCurvedList"/>
    <dgm:cxn modelId="{E431BE42-3D2C-4BAB-B3EC-1807469A2F2D}" type="presOf" srcId="{8BB19C16-A576-468C-9D08-FD301857469F}" destId="{4EA9ECC2-A698-45F1-B984-8BBDACFEDE79}" srcOrd="0" destOrd="0" presId="urn:microsoft.com/office/officeart/2008/layout/VerticalCurvedList"/>
    <dgm:cxn modelId="{1F5DF702-ED9E-46F8-A33E-0E258A0A2542}" type="presParOf" srcId="{4EA9ECC2-A698-45F1-B984-8BBDACFEDE79}" destId="{D9E19B1E-568B-4E25-9DAD-50457CF1F870}" srcOrd="0" destOrd="0" presId="urn:microsoft.com/office/officeart/2008/layout/VerticalCurvedList"/>
    <dgm:cxn modelId="{CC29517C-DF8C-471B-99E6-479F4D289BB6}" type="presParOf" srcId="{D9E19B1E-568B-4E25-9DAD-50457CF1F870}" destId="{2E78E118-A6F2-49EB-AB97-2D7B76A67F9D}" srcOrd="0" destOrd="0" presId="urn:microsoft.com/office/officeart/2008/layout/VerticalCurvedList"/>
    <dgm:cxn modelId="{15F0A144-B9F8-49B6-9659-0D49C01C49FB}" type="presParOf" srcId="{2E78E118-A6F2-49EB-AB97-2D7B76A67F9D}" destId="{9DDE14F5-DBE6-4D3B-9BC6-9F94BE6431CB}" srcOrd="0" destOrd="0" presId="urn:microsoft.com/office/officeart/2008/layout/VerticalCurvedList"/>
    <dgm:cxn modelId="{F6E973A4-0496-412B-ABDE-E88E40BE31F8}" type="presParOf" srcId="{2E78E118-A6F2-49EB-AB97-2D7B76A67F9D}" destId="{5BD5270D-B12E-4A79-893B-08DAEB7B9398}" srcOrd="1" destOrd="0" presId="urn:microsoft.com/office/officeart/2008/layout/VerticalCurvedList"/>
    <dgm:cxn modelId="{83AF50CE-3611-471C-AF2B-19B450BB459B}" type="presParOf" srcId="{2E78E118-A6F2-49EB-AB97-2D7B76A67F9D}" destId="{EA3288C6-A865-4F7F-8E90-0CDA22C9D235}" srcOrd="2" destOrd="0" presId="urn:microsoft.com/office/officeart/2008/layout/VerticalCurvedList"/>
    <dgm:cxn modelId="{27F00341-9980-4E18-BF5B-A7358B4920E5}" type="presParOf" srcId="{2E78E118-A6F2-49EB-AB97-2D7B76A67F9D}" destId="{0B966C79-C2A2-4F90-9262-8F22F3EB034D}" srcOrd="3" destOrd="0" presId="urn:microsoft.com/office/officeart/2008/layout/VerticalCurvedList"/>
    <dgm:cxn modelId="{36CBC799-973C-47B3-ADBB-82713887B04F}" type="presParOf" srcId="{D9E19B1E-568B-4E25-9DAD-50457CF1F870}" destId="{72474173-08D1-4346-B0D1-5FD81B36865D}" srcOrd="1" destOrd="0" presId="urn:microsoft.com/office/officeart/2008/layout/VerticalCurvedList"/>
    <dgm:cxn modelId="{4AF8EE41-A706-49ED-930A-6DA0B49A44C0}" type="presParOf" srcId="{D9E19B1E-568B-4E25-9DAD-50457CF1F870}" destId="{04226F9F-91FC-4D6E-9F33-356D86406BFE}" srcOrd="2" destOrd="0" presId="urn:microsoft.com/office/officeart/2008/layout/VerticalCurvedList"/>
    <dgm:cxn modelId="{0E1C500D-B164-4E60-8911-1F69CB77D0A4}" type="presParOf" srcId="{04226F9F-91FC-4D6E-9F33-356D86406BFE}" destId="{53E58E4D-35C3-411F-8785-54B73BE818D4}" srcOrd="0" destOrd="0" presId="urn:microsoft.com/office/officeart/2008/layout/VerticalCurvedList"/>
    <dgm:cxn modelId="{32797157-2F67-4566-8C96-D149B52ED1DD}" type="presParOf" srcId="{D9E19B1E-568B-4E25-9DAD-50457CF1F870}" destId="{260EB08A-85D4-4004-8E62-D45088D69D8E}" srcOrd="3" destOrd="0" presId="urn:microsoft.com/office/officeart/2008/layout/VerticalCurvedList"/>
    <dgm:cxn modelId="{FA0C38DD-94AB-4B75-AF92-EBF54493B5C2}" type="presParOf" srcId="{D9E19B1E-568B-4E25-9DAD-50457CF1F870}" destId="{305BCD33-9E02-40AB-9004-12519B010FDE}" srcOrd="4" destOrd="0" presId="urn:microsoft.com/office/officeart/2008/layout/VerticalCurvedList"/>
    <dgm:cxn modelId="{03CFEC0A-6713-4F0D-BE68-6A9A2E1C8ED1}" type="presParOf" srcId="{305BCD33-9E02-40AB-9004-12519B010FDE}" destId="{388D91A4-DE2B-40B1-910C-AC184860E800}" srcOrd="0" destOrd="0" presId="urn:microsoft.com/office/officeart/2008/layout/VerticalCurvedList"/>
    <dgm:cxn modelId="{DBDA0FEE-F2C9-4733-AD78-DD6578842033}" type="presParOf" srcId="{D9E19B1E-568B-4E25-9DAD-50457CF1F870}" destId="{B0D7FC9A-9B80-49BF-B125-43D652E1E136}" srcOrd="5" destOrd="0" presId="urn:microsoft.com/office/officeart/2008/layout/VerticalCurvedList"/>
    <dgm:cxn modelId="{73F6C14E-D55E-48D1-B7D7-1FCD22F94F24}" type="presParOf" srcId="{D9E19B1E-568B-4E25-9DAD-50457CF1F870}" destId="{FE421127-B5C3-4C21-B481-0D312B9DACCD}" srcOrd="6" destOrd="0" presId="urn:microsoft.com/office/officeart/2008/layout/VerticalCurvedList"/>
    <dgm:cxn modelId="{7E59E65A-AE5E-4D96-B50E-1FE15863AE27}" type="presParOf" srcId="{FE421127-B5C3-4C21-B481-0D312B9DACCD}" destId="{BACDD653-6442-49AB-B639-709704423E16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1CFD132-128A-43DD-8902-E8F6E76B6519}" type="doc">
      <dgm:prSet loTypeId="urn:microsoft.com/office/officeart/2005/8/layout/equation2" loCatId="relationship" qsTypeId="urn:microsoft.com/office/officeart/2005/8/quickstyle/3d1" qsCatId="3D" csTypeId="urn:microsoft.com/office/officeart/2005/8/colors/colorful1" csCatId="colorful" phldr="1"/>
      <dgm:spPr/>
    </dgm:pt>
    <dgm:pt modelId="{AE8C4E0D-C174-4A20-8AD1-3BF0344C9555}">
      <dgm:prSet phldrT="[Текст]"/>
      <dgm:spPr/>
      <dgm:t>
        <a:bodyPr/>
        <a:lstStyle/>
        <a:p>
          <a:r>
            <a:rPr lang="ru-RU" dirty="0" smtClean="0"/>
            <a:t>62 ГРО</a:t>
          </a:r>
          <a:endParaRPr lang="ru-RU" dirty="0"/>
        </a:p>
      </dgm:t>
    </dgm:pt>
    <dgm:pt modelId="{03357F82-5EB8-41BB-93BE-72747943F45F}" type="parTrans" cxnId="{AE77CB26-E14B-4043-9489-3E2C73F15670}">
      <dgm:prSet/>
      <dgm:spPr/>
      <dgm:t>
        <a:bodyPr/>
        <a:lstStyle/>
        <a:p>
          <a:endParaRPr lang="ru-RU"/>
        </a:p>
      </dgm:t>
    </dgm:pt>
    <dgm:pt modelId="{202667AF-9922-47A5-923B-9B61702D879E}" type="sibTrans" cxnId="{AE77CB26-E14B-4043-9489-3E2C73F15670}">
      <dgm:prSet/>
      <dgm:spPr/>
      <dgm:t>
        <a:bodyPr/>
        <a:lstStyle/>
        <a:p>
          <a:endParaRPr lang="ru-RU"/>
        </a:p>
      </dgm:t>
    </dgm:pt>
    <dgm:pt modelId="{BD749C35-AAC8-4253-B059-F8EDDD738D42}">
      <dgm:prSet phldrT="[Текст]"/>
      <dgm:spPr/>
      <dgm:t>
        <a:bodyPr/>
        <a:lstStyle/>
        <a:p>
          <a:r>
            <a:rPr lang="ru-RU" dirty="0" smtClean="0"/>
            <a:t>45 РГК</a:t>
          </a:r>
          <a:endParaRPr lang="ru-RU" dirty="0"/>
        </a:p>
      </dgm:t>
    </dgm:pt>
    <dgm:pt modelId="{96F6D614-5BF5-4666-B40B-3801F37688A2}" type="parTrans" cxnId="{C85C25A9-CFC6-41A0-8A3C-927C1750A714}">
      <dgm:prSet/>
      <dgm:spPr/>
      <dgm:t>
        <a:bodyPr/>
        <a:lstStyle/>
        <a:p>
          <a:endParaRPr lang="ru-RU"/>
        </a:p>
      </dgm:t>
    </dgm:pt>
    <dgm:pt modelId="{A81B6895-8513-46EB-B10A-95DB38F693EF}" type="sibTrans" cxnId="{C85C25A9-CFC6-41A0-8A3C-927C1750A714}">
      <dgm:prSet/>
      <dgm:spPr/>
      <dgm:t>
        <a:bodyPr/>
        <a:lstStyle/>
        <a:p>
          <a:endParaRPr lang="ru-RU"/>
        </a:p>
      </dgm:t>
    </dgm:pt>
    <dgm:pt modelId="{F3FE9E59-E7F4-43D3-B11D-068BD92CE96A}">
      <dgm:prSet phldrT="[Текст]"/>
      <dgm:spPr/>
      <dgm:t>
        <a:bodyPr/>
        <a:lstStyle/>
        <a:p>
          <a:r>
            <a:rPr lang="ru-RU" dirty="0" smtClean="0"/>
            <a:t>107 организаций группы лиц ООО «Газпром межрегионгаз»</a:t>
          </a:r>
          <a:endParaRPr lang="ru-RU" dirty="0"/>
        </a:p>
      </dgm:t>
    </dgm:pt>
    <dgm:pt modelId="{2EEA0550-2AD3-48F9-8B52-B959B20000CB}" type="parTrans" cxnId="{54246650-87E9-402A-B62A-C5306FC20431}">
      <dgm:prSet/>
      <dgm:spPr/>
      <dgm:t>
        <a:bodyPr/>
        <a:lstStyle/>
        <a:p>
          <a:endParaRPr lang="ru-RU"/>
        </a:p>
      </dgm:t>
    </dgm:pt>
    <dgm:pt modelId="{56635479-1FAB-4925-B3CC-EFB55295B469}" type="sibTrans" cxnId="{54246650-87E9-402A-B62A-C5306FC20431}">
      <dgm:prSet/>
      <dgm:spPr/>
      <dgm:t>
        <a:bodyPr/>
        <a:lstStyle/>
        <a:p>
          <a:endParaRPr lang="ru-RU"/>
        </a:p>
      </dgm:t>
    </dgm:pt>
    <dgm:pt modelId="{AE0F1FE8-F7B0-4798-A356-7237B25FCE22}" type="pres">
      <dgm:prSet presAssocID="{C1CFD132-128A-43DD-8902-E8F6E76B6519}" presName="Name0" presStyleCnt="0">
        <dgm:presLayoutVars>
          <dgm:dir/>
          <dgm:resizeHandles val="exact"/>
        </dgm:presLayoutVars>
      </dgm:prSet>
      <dgm:spPr/>
    </dgm:pt>
    <dgm:pt modelId="{145E4A03-0441-458A-8854-A8C3BB60E351}" type="pres">
      <dgm:prSet presAssocID="{C1CFD132-128A-43DD-8902-E8F6E76B6519}" presName="vNodes" presStyleCnt="0"/>
      <dgm:spPr/>
    </dgm:pt>
    <dgm:pt modelId="{C873C59C-51EB-427E-828D-D79F56105FAA}" type="pres">
      <dgm:prSet presAssocID="{AE8C4E0D-C174-4A20-8AD1-3BF0344C9555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738D0C7-163A-450F-910A-26E2160F2217}" type="pres">
      <dgm:prSet presAssocID="{202667AF-9922-47A5-923B-9B61702D879E}" presName="spacerT" presStyleCnt="0"/>
      <dgm:spPr/>
    </dgm:pt>
    <dgm:pt modelId="{3EFE2D20-1A15-4634-AA6E-BD2B2E6CDF5B}" type="pres">
      <dgm:prSet presAssocID="{202667AF-9922-47A5-923B-9B61702D879E}" presName="sibTrans" presStyleLbl="sibTrans2D1" presStyleIdx="0" presStyleCnt="2"/>
      <dgm:spPr/>
      <dgm:t>
        <a:bodyPr/>
        <a:lstStyle/>
        <a:p>
          <a:endParaRPr lang="ru-RU"/>
        </a:p>
      </dgm:t>
    </dgm:pt>
    <dgm:pt modelId="{BAE89A34-C41D-4094-A5A4-5C4660FDDB26}" type="pres">
      <dgm:prSet presAssocID="{202667AF-9922-47A5-923B-9B61702D879E}" presName="spacerB" presStyleCnt="0"/>
      <dgm:spPr/>
    </dgm:pt>
    <dgm:pt modelId="{26B1D799-42FD-42C1-9CFC-8789C1C2E547}" type="pres">
      <dgm:prSet presAssocID="{BD749C35-AAC8-4253-B059-F8EDDD738D42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F27D31D-C884-4DF1-84FF-B83F99988D75}" type="pres">
      <dgm:prSet presAssocID="{C1CFD132-128A-43DD-8902-E8F6E76B6519}" presName="sibTransLast" presStyleLbl="sibTrans2D1" presStyleIdx="1" presStyleCnt="2"/>
      <dgm:spPr/>
      <dgm:t>
        <a:bodyPr/>
        <a:lstStyle/>
        <a:p>
          <a:endParaRPr lang="ru-RU"/>
        </a:p>
      </dgm:t>
    </dgm:pt>
    <dgm:pt modelId="{A22C5EDF-BBC6-43E2-A20A-C7B756873EF0}" type="pres">
      <dgm:prSet presAssocID="{C1CFD132-128A-43DD-8902-E8F6E76B6519}" presName="connectorText" presStyleLbl="sibTrans2D1" presStyleIdx="1" presStyleCnt="2"/>
      <dgm:spPr/>
      <dgm:t>
        <a:bodyPr/>
        <a:lstStyle/>
        <a:p>
          <a:endParaRPr lang="ru-RU"/>
        </a:p>
      </dgm:t>
    </dgm:pt>
    <dgm:pt modelId="{F9CC6B8D-9AB9-40D2-9BDB-2417A5D1BD8D}" type="pres">
      <dgm:prSet presAssocID="{C1CFD132-128A-43DD-8902-E8F6E76B6519}" presName="las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80B6ABA-BC79-438B-A42C-C025143C1EEE}" type="presOf" srcId="{202667AF-9922-47A5-923B-9B61702D879E}" destId="{3EFE2D20-1A15-4634-AA6E-BD2B2E6CDF5B}" srcOrd="0" destOrd="0" presId="urn:microsoft.com/office/officeart/2005/8/layout/equation2"/>
    <dgm:cxn modelId="{AE77CB26-E14B-4043-9489-3E2C73F15670}" srcId="{C1CFD132-128A-43DD-8902-E8F6E76B6519}" destId="{AE8C4E0D-C174-4A20-8AD1-3BF0344C9555}" srcOrd="0" destOrd="0" parTransId="{03357F82-5EB8-41BB-93BE-72747943F45F}" sibTransId="{202667AF-9922-47A5-923B-9B61702D879E}"/>
    <dgm:cxn modelId="{A35DFAC8-60C9-48ED-8200-A92C5F4C2C84}" type="presOf" srcId="{A81B6895-8513-46EB-B10A-95DB38F693EF}" destId="{8F27D31D-C884-4DF1-84FF-B83F99988D75}" srcOrd="0" destOrd="0" presId="urn:microsoft.com/office/officeart/2005/8/layout/equation2"/>
    <dgm:cxn modelId="{6E525CC3-83D0-48FC-989A-60CF48E77C78}" type="presOf" srcId="{A81B6895-8513-46EB-B10A-95DB38F693EF}" destId="{A22C5EDF-BBC6-43E2-A20A-C7B756873EF0}" srcOrd="1" destOrd="0" presId="urn:microsoft.com/office/officeart/2005/8/layout/equation2"/>
    <dgm:cxn modelId="{872B0E8A-F0BA-401D-BB9B-6F5F71FD3E63}" type="presOf" srcId="{AE8C4E0D-C174-4A20-8AD1-3BF0344C9555}" destId="{C873C59C-51EB-427E-828D-D79F56105FAA}" srcOrd="0" destOrd="0" presId="urn:microsoft.com/office/officeart/2005/8/layout/equation2"/>
    <dgm:cxn modelId="{001923F8-B472-4589-BE51-305F7847DF46}" type="presOf" srcId="{BD749C35-AAC8-4253-B059-F8EDDD738D42}" destId="{26B1D799-42FD-42C1-9CFC-8789C1C2E547}" srcOrd="0" destOrd="0" presId="urn:microsoft.com/office/officeart/2005/8/layout/equation2"/>
    <dgm:cxn modelId="{D8C68B76-4724-4B2D-8A73-A8C4F21FF64B}" type="presOf" srcId="{C1CFD132-128A-43DD-8902-E8F6E76B6519}" destId="{AE0F1FE8-F7B0-4798-A356-7237B25FCE22}" srcOrd="0" destOrd="0" presId="urn:microsoft.com/office/officeart/2005/8/layout/equation2"/>
    <dgm:cxn modelId="{C85C25A9-CFC6-41A0-8A3C-927C1750A714}" srcId="{C1CFD132-128A-43DD-8902-E8F6E76B6519}" destId="{BD749C35-AAC8-4253-B059-F8EDDD738D42}" srcOrd="1" destOrd="0" parTransId="{96F6D614-5BF5-4666-B40B-3801F37688A2}" sibTransId="{A81B6895-8513-46EB-B10A-95DB38F693EF}"/>
    <dgm:cxn modelId="{609DC2FB-9E55-49DE-921A-8B9A71081A20}" type="presOf" srcId="{F3FE9E59-E7F4-43D3-B11D-068BD92CE96A}" destId="{F9CC6B8D-9AB9-40D2-9BDB-2417A5D1BD8D}" srcOrd="0" destOrd="0" presId="urn:microsoft.com/office/officeart/2005/8/layout/equation2"/>
    <dgm:cxn modelId="{54246650-87E9-402A-B62A-C5306FC20431}" srcId="{C1CFD132-128A-43DD-8902-E8F6E76B6519}" destId="{F3FE9E59-E7F4-43D3-B11D-068BD92CE96A}" srcOrd="2" destOrd="0" parTransId="{2EEA0550-2AD3-48F9-8B52-B959B20000CB}" sibTransId="{56635479-1FAB-4925-B3CC-EFB55295B469}"/>
    <dgm:cxn modelId="{24A8DAF1-7245-4DC3-A93C-066744B1217F}" type="presParOf" srcId="{AE0F1FE8-F7B0-4798-A356-7237B25FCE22}" destId="{145E4A03-0441-458A-8854-A8C3BB60E351}" srcOrd="0" destOrd="0" presId="urn:microsoft.com/office/officeart/2005/8/layout/equation2"/>
    <dgm:cxn modelId="{01C35CB7-B79F-4F60-BBD1-6AC0717F0823}" type="presParOf" srcId="{145E4A03-0441-458A-8854-A8C3BB60E351}" destId="{C873C59C-51EB-427E-828D-D79F56105FAA}" srcOrd="0" destOrd="0" presId="urn:microsoft.com/office/officeart/2005/8/layout/equation2"/>
    <dgm:cxn modelId="{D8C9BD67-B265-4261-9FDD-C2BA2A0D94FE}" type="presParOf" srcId="{145E4A03-0441-458A-8854-A8C3BB60E351}" destId="{3738D0C7-163A-450F-910A-26E2160F2217}" srcOrd="1" destOrd="0" presId="urn:microsoft.com/office/officeart/2005/8/layout/equation2"/>
    <dgm:cxn modelId="{6F2EB9A5-E230-4044-981F-5F8FC6650F51}" type="presParOf" srcId="{145E4A03-0441-458A-8854-A8C3BB60E351}" destId="{3EFE2D20-1A15-4634-AA6E-BD2B2E6CDF5B}" srcOrd="2" destOrd="0" presId="urn:microsoft.com/office/officeart/2005/8/layout/equation2"/>
    <dgm:cxn modelId="{3F593853-96C2-4FA4-A4E3-DA833712DAA7}" type="presParOf" srcId="{145E4A03-0441-458A-8854-A8C3BB60E351}" destId="{BAE89A34-C41D-4094-A5A4-5C4660FDDB26}" srcOrd="3" destOrd="0" presId="urn:microsoft.com/office/officeart/2005/8/layout/equation2"/>
    <dgm:cxn modelId="{E345F06B-972A-4BDB-AB12-DC27EDECA03B}" type="presParOf" srcId="{145E4A03-0441-458A-8854-A8C3BB60E351}" destId="{26B1D799-42FD-42C1-9CFC-8789C1C2E547}" srcOrd="4" destOrd="0" presId="urn:microsoft.com/office/officeart/2005/8/layout/equation2"/>
    <dgm:cxn modelId="{6DEBA42B-898A-4289-B5C6-15A8D25A8891}" type="presParOf" srcId="{AE0F1FE8-F7B0-4798-A356-7237B25FCE22}" destId="{8F27D31D-C884-4DF1-84FF-B83F99988D75}" srcOrd="1" destOrd="0" presId="urn:microsoft.com/office/officeart/2005/8/layout/equation2"/>
    <dgm:cxn modelId="{D5CF402F-B6D9-44A3-9CC7-D6B533471339}" type="presParOf" srcId="{8F27D31D-C884-4DF1-84FF-B83F99988D75}" destId="{A22C5EDF-BBC6-43E2-A20A-C7B756873EF0}" srcOrd="0" destOrd="0" presId="urn:microsoft.com/office/officeart/2005/8/layout/equation2"/>
    <dgm:cxn modelId="{4315DDB2-9768-4E6C-AD8F-CF821E503F7B}" type="presParOf" srcId="{AE0F1FE8-F7B0-4798-A356-7237B25FCE22}" destId="{F9CC6B8D-9AB9-40D2-9BDB-2417A5D1BD8D}" srcOrd="2" destOrd="0" presId="urn:microsoft.com/office/officeart/2005/8/layout/equation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04CE026-9161-4C32-B9ED-5714E6337D52}" type="doc">
      <dgm:prSet loTypeId="urn:microsoft.com/office/officeart/2005/8/layout/vList3" loCatId="list" qsTypeId="urn:microsoft.com/office/officeart/2005/8/quickstyle/simple1" qsCatId="simple" csTypeId="urn:microsoft.com/office/officeart/2005/8/colors/accent0_3" csCatId="mainScheme" phldr="1"/>
      <dgm:spPr/>
    </dgm:pt>
    <dgm:pt modelId="{DB27317B-54E7-4DA8-905E-F49CA5350C9A}">
      <dgm:prSet phldrT="[Текст]"/>
      <dgm:spPr/>
      <dgm:t>
        <a:bodyPr/>
        <a:lstStyle/>
        <a:p>
          <a:r>
            <a:rPr lang="ru-RU" smtClean="0"/>
            <a:t>недостаточный уровень обеспеченности объектами газомоторной инфраструктуры (в том числе АГНКС, сервисными и дилерскими центрами по обслуживанию ГБА), не позволяющий осуществить оперативный перевод значительной части автопарка на КПГ;</a:t>
          </a:r>
          <a:endParaRPr lang="ru-RU"/>
        </a:p>
      </dgm:t>
    </dgm:pt>
    <dgm:pt modelId="{E92ADDE0-DF45-4A50-B3BD-15B82F87C58E}" type="parTrans" cxnId="{0593DF30-CCD8-43C0-B6A5-70CC0EF2205B}">
      <dgm:prSet/>
      <dgm:spPr/>
      <dgm:t>
        <a:bodyPr/>
        <a:lstStyle/>
        <a:p>
          <a:endParaRPr lang="ru-RU"/>
        </a:p>
      </dgm:t>
    </dgm:pt>
    <dgm:pt modelId="{A28C270F-FE16-4FE2-86F9-7C7B4960E3A3}" type="sibTrans" cxnId="{0593DF30-CCD8-43C0-B6A5-70CC0EF2205B}">
      <dgm:prSet/>
      <dgm:spPr/>
      <dgm:t>
        <a:bodyPr/>
        <a:lstStyle/>
        <a:p>
          <a:endParaRPr lang="ru-RU"/>
        </a:p>
      </dgm:t>
    </dgm:pt>
    <dgm:pt modelId="{DF633F41-6C4D-4ADA-ABCF-3A373207019E}">
      <dgm:prSet/>
      <dgm:spPr/>
      <dgm:t>
        <a:bodyPr/>
        <a:lstStyle/>
        <a:p>
          <a:r>
            <a:rPr lang="ru-RU" smtClean="0"/>
            <a:t>высокий износ большинства ТС (в структуре автопарка значительную долю занимает техника старше 15 лет), затрудняющий установку ГБО;</a:t>
          </a:r>
          <a:endParaRPr lang="ru-RU"/>
        </a:p>
      </dgm:t>
    </dgm:pt>
    <dgm:pt modelId="{A1D11EE6-A2A9-4C2B-A878-1BDA8A965AA8}" type="parTrans" cxnId="{EE3D6468-DC48-4116-8029-B52AA0C79F03}">
      <dgm:prSet/>
      <dgm:spPr/>
      <dgm:t>
        <a:bodyPr/>
        <a:lstStyle/>
        <a:p>
          <a:endParaRPr lang="ru-RU"/>
        </a:p>
      </dgm:t>
    </dgm:pt>
    <dgm:pt modelId="{CA002416-CB33-4E34-B6AD-BC04985E0E69}" type="sibTrans" cxnId="{EE3D6468-DC48-4116-8029-B52AA0C79F03}">
      <dgm:prSet/>
      <dgm:spPr/>
      <dgm:t>
        <a:bodyPr/>
        <a:lstStyle/>
        <a:p>
          <a:endParaRPr lang="ru-RU"/>
        </a:p>
      </dgm:t>
    </dgm:pt>
    <dgm:pt modelId="{3FFD4E2F-6075-45C4-BB88-4C6919A601E9}">
      <dgm:prSet/>
      <dgm:spPr/>
      <dgm:t>
        <a:bodyPr/>
        <a:lstStyle/>
        <a:p>
          <a:r>
            <a:rPr lang="ru-RU" smtClean="0"/>
            <a:t>необходимость проведения ряда мероприятий при переводе транспорта на КПГ, в том числе приведение в соответствие с требованиями пожарной безопасности имеющихся стояночных боксов, зданий, сооружений, обучение водителей и т.д.</a:t>
          </a:r>
          <a:endParaRPr lang="ru-RU"/>
        </a:p>
      </dgm:t>
    </dgm:pt>
    <dgm:pt modelId="{630ED008-1048-415B-972B-83DE5290B5C7}" type="parTrans" cxnId="{93566A47-A8D1-4E50-84F9-BAF3A203F298}">
      <dgm:prSet/>
      <dgm:spPr/>
      <dgm:t>
        <a:bodyPr/>
        <a:lstStyle/>
        <a:p>
          <a:endParaRPr lang="ru-RU"/>
        </a:p>
      </dgm:t>
    </dgm:pt>
    <dgm:pt modelId="{A56767E6-C3EC-448D-8E6B-76CBDCD9AFB7}" type="sibTrans" cxnId="{93566A47-A8D1-4E50-84F9-BAF3A203F298}">
      <dgm:prSet/>
      <dgm:spPr/>
      <dgm:t>
        <a:bodyPr/>
        <a:lstStyle/>
        <a:p>
          <a:endParaRPr lang="ru-RU"/>
        </a:p>
      </dgm:t>
    </dgm:pt>
    <dgm:pt modelId="{8F73645D-4564-4479-941E-B0B1C6BD025A}" type="pres">
      <dgm:prSet presAssocID="{904CE026-9161-4C32-B9ED-5714E6337D52}" presName="linearFlow" presStyleCnt="0">
        <dgm:presLayoutVars>
          <dgm:dir/>
          <dgm:resizeHandles val="exact"/>
        </dgm:presLayoutVars>
      </dgm:prSet>
      <dgm:spPr/>
    </dgm:pt>
    <dgm:pt modelId="{581FCF93-6C22-4A83-84D8-947863A9720F}" type="pres">
      <dgm:prSet presAssocID="{DB27317B-54E7-4DA8-905E-F49CA5350C9A}" presName="composite" presStyleCnt="0"/>
      <dgm:spPr/>
    </dgm:pt>
    <dgm:pt modelId="{079ED8A9-4A6C-4201-AB1D-C220758590A1}" type="pres">
      <dgm:prSet presAssocID="{DB27317B-54E7-4DA8-905E-F49CA5350C9A}" presName="imgShp" presStyleLbl="fgImgPlace1" presStyleIdx="0" presStyleCnt="3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E29B16F7-43D1-4989-8B26-D5092AD9E03A}" type="pres">
      <dgm:prSet presAssocID="{DB27317B-54E7-4DA8-905E-F49CA5350C9A}" presName="txShp" presStyleLbl="node1" presStyleIdx="0" presStyleCnt="3" custScaleX="117710" custLinFactNeighborX="963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F9F10BD-8811-487C-9D5E-F854BED36E13}" type="pres">
      <dgm:prSet presAssocID="{A28C270F-FE16-4FE2-86F9-7C7B4960E3A3}" presName="spacing" presStyleCnt="0"/>
      <dgm:spPr/>
    </dgm:pt>
    <dgm:pt modelId="{85007D5D-C378-4D4B-9B33-2EE582B83E8E}" type="pres">
      <dgm:prSet presAssocID="{DF633F41-6C4D-4ADA-ABCF-3A373207019E}" presName="composite" presStyleCnt="0"/>
      <dgm:spPr/>
    </dgm:pt>
    <dgm:pt modelId="{45EE41D3-9C54-4DEE-A9E7-47A36F63F94E}" type="pres">
      <dgm:prSet presAssocID="{DF633F41-6C4D-4ADA-ABCF-3A373207019E}" presName="imgShp" presStyleLbl="fgImgPlace1" presStyleIdx="1" presStyleCnt="3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200879BC-184B-4C69-91D1-46CC103C9C9D}" type="pres">
      <dgm:prSet presAssocID="{DF633F41-6C4D-4ADA-ABCF-3A373207019E}" presName="txShp" presStyleLbl="node1" presStyleIdx="1" presStyleCnt="3" custScaleX="117710" custLinFactNeighborX="963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77C7681-E326-49E2-B0AD-31251F9F46AA}" type="pres">
      <dgm:prSet presAssocID="{CA002416-CB33-4E34-B6AD-BC04985E0E69}" presName="spacing" presStyleCnt="0"/>
      <dgm:spPr/>
    </dgm:pt>
    <dgm:pt modelId="{1A552857-69F9-433B-B4D6-51C241A5CC1A}" type="pres">
      <dgm:prSet presAssocID="{3FFD4E2F-6075-45C4-BB88-4C6919A601E9}" presName="composite" presStyleCnt="0"/>
      <dgm:spPr/>
    </dgm:pt>
    <dgm:pt modelId="{210325A0-8FCB-44BE-827D-00AE82BE392C}" type="pres">
      <dgm:prSet presAssocID="{3FFD4E2F-6075-45C4-BB88-4C6919A601E9}" presName="imgShp" presStyleLbl="fgImgPlace1" presStyleIdx="2" presStyleCnt="3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7BFECE5F-69DB-48B3-AEB1-2EAB28592982}" type="pres">
      <dgm:prSet presAssocID="{3FFD4E2F-6075-45C4-BB88-4C6919A601E9}" presName="txShp" presStyleLbl="node1" presStyleIdx="2" presStyleCnt="3" custScaleX="117710" custLinFactNeighborX="963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E3D6468-DC48-4116-8029-B52AA0C79F03}" srcId="{904CE026-9161-4C32-B9ED-5714E6337D52}" destId="{DF633F41-6C4D-4ADA-ABCF-3A373207019E}" srcOrd="1" destOrd="0" parTransId="{A1D11EE6-A2A9-4C2B-A878-1BDA8A965AA8}" sibTransId="{CA002416-CB33-4E34-B6AD-BC04985E0E69}"/>
    <dgm:cxn modelId="{0593DF30-CCD8-43C0-B6A5-70CC0EF2205B}" srcId="{904CE026-9161-4C32-B9ED-5714E6337D52}" destId="{DB27317B-54E7-4DA8-905E-F49CA5350C9A}" srcOrd="0" destOrd="0" parTransId="{E92ADDE0-DF45-4A50-B3BD-15B82F87C58E}" sibTransId="{A28C270F-FE16-4FE2-86F9-7C7B4960E3A3}"/>
    <dgm:cxn modelId="{2BB154DF-616D-410A-8C92-889F8A5B6A3B}" type="presOf" srcId="{DF633F41-6C4D-4ADA-ABCF-3A373207019E}" destId="{200879BC-184B-4C69-91D1-46CC103C9C9D}" srcOrd="0" destOrd="0" presId="urn:microsoft.com/office/officeart/2005/8/layout/vList3"/>
    <dgm:cxn modelId="{01A94FAC-2376-4890-A557-778091CA5031}" type="presOf" srcId="{DB27317B-54E7-4DA8-905E-F49CA5350C9A}" destId="{E29B16F7-43D1-4989-8B26-D5092AD9E03A}" srcOrd="0" destOrd="0" presId="urn:microsoft.com/office/officeart/2005/8/layout/vList3"/>
    <dgm:cxn modelId="{93566A47-A8D1-4E50-84F9-BAF3A203F298}" srcId="{904CE026-9161-4C32-B9ED-5714E6337D52}" destId="{3FFD4E2F-6075-45C4-BB88-4C6919A601E9}" srcOrd="2" destOrd="0" parTransId="{630ED008-1048-415B-972B-83DE5290B5C7}" sibTransId="{A56767E6-C3EC-448D-8E6B-76CBDCD9AFB7}"/>
    <dgm:cxn modelId="{DE846E8D-A1D0-44A7-ABE3-2A4BBB0E62B1}" type="presOf" srcId="{3FFD4E2F-6075-45C4-BB88-4C6919A601E9}" destId="{7BFECE5F-69DB-48B3-AEB1-2EAB28592982}" srcOrd="0" destOrd="0" presId="urn:microsoft.com/office/officeart/2005/8/layout/vList3"/>
    <dgm:cxn modelId="{52080B7E-F8F1-449E-A727-3CC8D6EB3380}" type="presOf" srcId="{904CE026-9161-4C32-B9ED-5714E6337D52}" destId="{8F73645D-4564-4479-941E-B0B1C6BD025A}" srcOrd="0" destOrd="0" presId="urn:microsoft.com/office/officeart/2005/8/layout/vList3"/>
    <dgm:cxn modelId="{244EB2DF-6DC1-4836-B236-E3EB28F7F881}" type="presParOf" srcId="{8F73645D-4564-4479-941E-B0B1C6BD025A}" destId="{581FCF93-6C22-4A83-84D8-947863A9720F}" srcOrd="0" destOrd="0" presId="urn:microsoft.com/office/officeart/2005/8/layout/vList3"/>
    <dgm:cxn modelId="{7691C278-4571-44CA-9129-5FE59A80BCB5}" type="presParOf" srcId="{581FCF93-6C22-4A83-84D8-947863A9720F}" destId="{079ED8A9-4A6C-4201-AB1D-C220758590A1}" srcOrd="0" destOrd="0" presId="urn:microsoft.com/office/officeart/2005/8/layout/vList3"/>
    <dgm:cxn modelId="{42DAB266-3D36-4195-8457-DB33B7E8761B}" type="presParOf" srcId="{581FCF93-6C22-4A83-84D8-947863A9720F}" destId="{E29B16F7-43D1-4989-8B26-D5092AD9E03A}" srcOrd="1" destOrd="0" presId="urn:microsoft.com/office/officeart/2005/8/layout/vList3"/>
    <dgm:cxn modelId="{7597E0FA-A0CE-44EC-96FE-AA756924B0EC}" type="presParOf" srcId="{8F73645D-4564-4479-941E-B0B1C6BD025A}" destId="{2F9F10BD-8811-487C-9D5E-F854BED36E13}" srcOrd="1" destOrd="0" presId="urn:microsoft.com/office/officeart/2005/8/layout/vList3"/>
    <dgm:cxn modelId="{BD7FB2A3-EFC7-4716-ABE4-06D53026BE39}" type="presParOf" srcId="{8F73645D-4564-4479-941E-B0B1C6BD025A}" destId="{85007D5D-C378-4D4B-9B33-2EE582B83E8E}" srcOrd="2" destOrd="0" presId="urn:microsoft.com/office/officeart/2005/8/layout/vList3"/>
    <dgm:cxn modelId="{64BAC55D-5543-4CCB-B53D-F7DFC472E55D}" type="presParOf" srcId="{85007D5D-C378-4D4B-9B33-2EE582B83E8E}" destId="{45EE41D3-9C54-4DEE-A9E7-47A36F63F94E}" srcOrd="0" destOrd="0" presId="urn:microsoft.com/office/officeart/2005/8/layout/vList3"/>
    <dgm:cxn modelId="{A3FCCD70-C2D6-4AEF-9DD1-76AC99D80F2D}" type="presParOf" srcId="{85007D5D-C378-4D4B-9B33-2EE582B83E8E}" destId="{200879BC-184B-4C69-91D1-46CC103C9C9D}" srcOrd="1" destOrd="0" presId="urn:microsoft.com/office/officeart/2005/8/layout/vList3"/>
    <dgm:cxn modelId="{BE0AC5FD-26BF-4261-ACAF-3F4166BA948D}" type="presParOf" srcId="{8F73645D-4564-4479-941E-B0B1C6BD025A}" destId="{F77C7681-E326-49E2-B0AD-31251F9F46AA}" srcOrd="3" destOrd="0" presId="urn:microsoft.com/office/officeart/2005/8/layout/vList3"/>
    <dgm:cxn modelId="{1AD3CA26-1A0C-4353-8A86-055F017E8D07}" type="presParOf" srcId="{8F73645D-4564-4479-941E-B0B1C6BD025A}" destId="{1A552857-69F9-433B-B4D6-51C241A5CC1A}" srcOrd="4" destOrd="0" presId="urn:microsoft.com/office/officeart/2005/8/layout/vList3"/>
    <dgm:cxn modelId="{21594509-FE69-4583-8BF0-07AD7C69591F}" type="presParOf" srcId="{1A552857-69F9-433B-B4D6-51C241A5CC1A}" destId="{210325A0-8FCB-44BE-827D-00AE82BE392C}" srcOrd="0" destOrd="0" presId="urn:microsoft.com/office/officeart/2005/8/layout/vList3"/>
    <dgm:cxn modelId="{2E8A80D3-AB89-4522-9E62-9C9E3590732E}" type="presParOf" srcId="{1A552857-69F9-433B-B4D6-51C241A5CC1A}" destId="{7BFECE5F-69DB-48B3-AEB1-2EAB28592982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E4CAD48-0CC5-4B89-9977-4EE6E705013F}" type="doc">
      <dgm:prSet loTypeId="urn:microsoft.com/office/officeart/2005/8/layout/chevron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AC125896-9D4A-4AB7-8C3D-BBEA98FAC714}">
      <dgm:prSet phldrT="[Текст]"/>
      <dgm:spPr/>
      <dgm:t>
        <a:bodyPr/>
        <a:lstStyle/>
        <a:p>
          <a:r>
            <a:rPr lang="ru-RU" dirty="0" smtClean="0"/>
            <a:t>1</a:t>
          </a:r>
          <a:endParaRPr lang="ru-RU" dirty="0"/>
        </a:p>
      </dgm:t>
    </dgm:pt>
    <dgm:pt modelId="{3C2DDBF8-8A40-4275-B6D1-F55235F3A3C1}" type="parTrans" cxnId="{22721721-146B-4AA9-9338-2C55A6A4F5E5}">
      <dgm:prSet/>
      <dgm:spPr/>
      <dgm:t>
        <a:bodyPr/>
        <a:lstStyle/>
        <a:p>
          <a:endParaRPr lang="ru-RU"/>
        </a:p>
      </dgm:t>
    </dgm:pt>
    <dgm:pt modelId="{301FEC22-88AD-4EB6-87C7-12259884873E}" type="sibTrans" cxnId="{22721721-146B-4AA9-9338-2C55A6A4F5E5}">
      <dgm:prSet/>
      <dgm:spPr/>
      <dgm:t>
        <a:bodyPr/>
        <a:lstStyle/>
        <a:p>
          <a:endParaRPr lang="ru-RU"/>
        </a:p>
      </dgm:t>
    </dgm:pt>
    <dgm:pt modelId="{293B6DAF-7ABB-482B-AB89-34C00FA96F55}">
      <dgm:prSet/>
      <dgm:spPr/>
      <dgm:t>
        <a:bodyPr/>
        <a:lstStyle/>
        <a:p>
          <a:r>
            <a:rPr lang="ru-RU" dirty="0" smtClean="0"/>
            <a:t>2</a:t>
          </a:r>
          <a:endParaRPr lang="ru-RU" dirty="0"/>
        </a:p>
      </dgm:t>
    </dgm:pt>
    <dgm:pt modelId="{CA1860F2-7F8B-454E-9D01-3345BAC7AC32}" type="parTrans" cxnId="{9E313F3E-06D8-45DD-A059-59C3935BBB2E}">
      <dgm:prSet/>
      <dgm:spPr/>
      <dgm:t>
        <a:bodyPr/>
        <a:lstStyle/>
        <a:p>
          <a:endParaRPr lang="ru-RU"/>
        </a:p>
      </dgm:t>
    </dgm:pt>
    <dgm:pt modelId="{2D3A73A2-3334-4C9B-9A50-BB6678ED2127}" type="sibTrans" cxnId="{9E313F3E-06D8-45DD-A059-59C3935BBB2E}">
      <dgm:prSet/>
      <dgm:spPr/>
      <dgm:t>
        <a:bodyPr/>
        <a:lstStyle/>
        <a:p>
          <a:endParaRPr lang="ru-RU"/>
        </a:p>
      </dgm:t>
    </dgm:pt>
    <dgm:pt modelId="{1DD9F692-34E9-4080-9C4A-74A4926DDCD4}">
      <dgm:prSet/>
      <dgm:spPr/>
      <dgm:t>
        <a:bodyPr/>
        <a:lstStyle/>
        <a:p>
          <a:r>
            <a:rPr lang="ru-RU" dirty="0" smtClean="0"/>
            <a:t>3</a:t>
          </a:r>
          <a:endParaRPr lang="ru-RU" dirty="0"/>
        </a:p>
      </dgm:t>
    </dgm:pt>
    <dgm:pt modelId="{68D9F9DB-88CD-42F1-AF66-84E73E4A5952}" type="parTrans" cxnId="{5549CB42-6555-465D-BE8E-F5CE3717973B}">
      <dgm:prSet/>
      <dgm:spPr/>
      <dgm:t>
        <a:bodyPr/>
        <a:lstStyle/>
        <a:p>
          <a:endParaRPr lang="ru-RU"/>
        </a:p>
      </dgm:t>
    </dgm:pt>
    <dgm:pt modelId="{392D3273-5C26-4524-989E-C8205861EFA1}" type="sibTrans" cxnId="{5549CB42-6555-465D-BE8E-F5CE3717973B}">
      <dgm:prSet/>
      <dgm:spPr/>
      <dgm:t>
        <a:bodyPr/>
        <a:lstStyle/>
        <a:p>
          <a:endParaRPr lang="ru-RU"/>
        </a:p>
      </dgm:t>
    </dgm:pt>
    <dgm:pt modelId="{69D67436-1C92-4AEF-9134-B1F9D0A5CC5D}">
      <dgm:prSet/>
      <dgm:spPr/>
      <dgm:t>
        <a:bodyPr/>
        <a:lstStyle/>
        <a:p>
          <a:r>
            <a:rPr lang="ru-RU" dirty="0" smtClean="0"/>
            <a:t>4</a:t>
          </a:r>
          <a:endParaRPr lang="ru-RU" dirty="0"/>
        </a:p>
      </dgm:t>
    </dgm:pt>
    <dgm:pt modelId="{79FF3F20-599B-4073-B3A2-994BEDFFAAF5}" type="parTrans" cxnId="{8E9AE07B-E106-4177-9092-70AF02627B1B}">
      <dgm:prSet/>
      <dgm:spPr/>
      <dgm:t>
        <a:bodyPr/>
        <a:lstStyle/>
        <a:p>
          <a:endParaRPr lang="ru-RU"/>
        </a:p>
      </dgm:t>
    </dgm:pt>
    <dgm:pt modelId="{E11A1DF4-74A6-4548-8897-0419B80FCC99}" type="sibTrans" cxnId="{8E9AE07B-E106-4177-9092-70AF02627B1B}">
      <dgm:prSet/>
      <dgm:spPr/>
      <dgm:t>
        <a:bodyPr/>
        <a:lstStyle/>
        <a:p>
          <a:endParaRPr lang="ru-RU"/>
        </a:p>
      </dgm:t>
    </dgm:pt>
    <dgm:pt modelId="{5D9EBC0B-D422-4FA8-86F4-FE2C9AEF9545}">
      <dgm:prSet phldrT="[Текст]"/>
      <dgm:spPr/>
      <dgm:t>
        <a:bodyPr/>
        <a:lstStyle/>
        <a:p>
          <a:r>
            <a:rPr lang="ru-RU" dirty="0" smtClean="0"/>
            <a:t>транспортные средства, места базирования которых находятся на расстоянии  20км и менее от действующих объектов газозаправочной инфраструктуры </a:t>
          </a:r>
          <a:endParaRPr lang="ru-RU" dirty="0"/>
        </a:p>
      </dgm:t>
    </dgm:pt>
    <dgm:pt modelId="{5B048795-C7E4-41A6-AA9D-62878846FC32}" type="parTrans" cxnId="{C9BA8BE9-E414-42A7-AB9A-894AFCF4F6FF}">
      <dgm:prSet/>
      <dgm:spPr/>
      <dgm:t>
        <a:bodyPr/>
        <a:lstStyle/>
        <a:p>
          <a:endParaRPr lang="ru-RU"/>
        </a:p>
      </dgm:t>
    </dgm:pt>
    <dgm:pt modelId="{F329870E-96AA-4B0E-9CA4-315671C4AACE}" type="sibTrans" cxnId="{C9BA8BE9-E414-42A7-AB9A-894AFCF4F6FF}">
      <dgm:prSet/>
      <dgm:spPr/>
      <dgm:t>
        <a:bodyPr/>
        <a:lstStyle/>
        <a:p>
          <a:endParaRPr lang="ru-RU"/>
        </a:p>
      </dgm:t>
    </dgm:pt>
    <dgm:pt modelId="{C38916E0-610F-4312-B5CF-5DB8EDAD181C}">
      <dgm:prSet/>
      <dgm:spPr/>
      <dgm:t>
        <a:bodyPr/>
        <a:lstStyle/>
        <a:p>
          <a:r>
            <a:rPr lang="ru-RU" dirty="0" smtClean="0"/>
            <a:t> транспортные средства на бензине подлежат переоборудованию или замене на ТС с ГБО на КПГ;</a:t>
          </a:r>
          <a:endParaRPr lang="ru-RU" dirty="0"/>
        </a:p>
      </dgm:t>
    </dgm:pt>
    <dgm:pt modelId="{E88A0FC8-0C92-4B2A-8E19-1E457D36FC75}" type="parTrans" cxnId="{201534AD-235A-40DA-AFE7-3A87B8BFAF29}">
      <dgm:prSet/>
      <dgm:spPr/>
      <dgm:t>
        <a:bodyPr/>
        <a:lstStyle/>
        <a:p>
          <a:endParaRPr lang="ru-RU"/>
        </a:p>
      </dgm:t>
    </dgm:pt>
    <dgm:pt modelId="{2739145F-7CAE-4689-B705-276BD7AC68CC}" type="sibTrans" cxnId="{201534AD-235A-40DA-AFE7-3A87B8BFAF29}">
      <dgm:prSet/>
      <dgm:spPr/>
      <dgm:t>
        <a:bodyPr/>
        <a:lstStyle/>
        <a:p>
          <a:endParaRPr lang="ru-RU"/>
        </a:p>
      </dgm:t>
    </dgm:pt>
    <dgm:pt modelId="{0F90CCEA-78F7-419B-8C47-38D36A1A7996}">
      <dgm:prSet/>
      <dgm:spPr/>
      <dgm:t>
        <a:bodyPr/>
        <a:lstStyle/>
        <a:p>
          <a:r>
            <a:rPr lang="ru-RU" dirty="0" smtClean="0"/>
            <a:t>транспортные средства на дизельном топливе и СУГ подлежат замене на ТС с ГБО на КПГ;</a:t>
          </a:r>
          <a:endParaRPr lang="ru-RU" dirty="0"/>
        </a:p>
      </dgm:t>
    </dgm:pt>
    <dgm:pt modelId="{82071860-3043-485B-B51F-0AD16EC470CE}" type="parTrans" cxnId="{9EA3A586-604B-49A7-85ED-CD4C73193174}">
      <dgm:prSet/>
      <dgm:spPr/>
      <dgm:t>
        <a:bodyPr/>
        <a:lstStyle/>
        <a:p>
          <a:endParaRPr lang="ru-RU"/>
        </a:p>
      </dgm:t>
    </dgm:pt>
    <dgm:pt modelId="{19BEDDA7-921F-459E-89ED-CC9077D00804}" type="sibTrans" cxnId="{9EA3A586-604B-49A7-85ED-CD4C73193174}">
      <dgm:prSet/>
      <dgm:spPr/>
      <dgm:t>
        <a:bodyPr/>
        <a:lstStyle/>
        <a:p>
          <a:endParaRPr lang="ru-RU"/>
        </a:p>
      </dgm:t>
    </dgm:pt>
    <dgm:pt modelId="{903ED059-1B0F-4AB7-AFF3-66F3283578D0}">
      <dgm:prSet/>
      <dgm:spPr/>
      <dgm:t>
        <a:bodyPr/>
        <a:lstStyle/>
        <a:p>
          <a:r>
            <a:rPr lang="ru-RU" dirty="0" smtClean="0">
              <a:solidFill>
                <a:srgbClr val="C00000"/>
              </a:solidFill>
            </a:rPr>
            <a:t>не подлежат </a:t>
          </a:r>
          <a:r>
            <a:rPr lang="ru-RU" dirty="0" smtClean="0"/>
            <a:t>переводу транспортные средства марки </a:t>
          </a:r>
          <a:r>
            <a:rPr lang="en-US" dirty="0" smtClean="0"/>
            <a:t>Mercedes</a:t>
          </a:r>
          <a:r>
            <a:rPr lang="ru-RU" dirty="0" smtClean="0"/>
            <a:t>;</a:t>
          </a:r>
          <a:endParaRPr lang="ru-RU" dirty="0"/>
        </a:p>
      </dgm:t>
    </dgm:pt>
    <dgm:pt modelId="{677A918C-3E08-48D2-87BA-01503F770E30}" type="parTrans" cxnId="{E6371120-7443-43B3-9BAA-83F03A0F8D6C}">
      <dgm:prSet/>
      <dgm:spPr/>
      <dgm:t>
        <a:bodyPr/>
        <a:lstStyle/>
        <a:p>
          <a:endParaRPr lang="ru-RU"/>
        </a:p>
      </dgm:t>
    </dgm:pt>
    <dgm:pt modelId="{2FBB5103-C2EB-4681-96F1-58BBA066C003}" type="sibTrans" cxnId="{E6371120-7443-43B3-9BAA-83F03A0F8D6C}">
      <dgm:prSet/>
      <dgm:spPr/>
      <dgm:t>
        <a:bodyPr/>
        <a:lstStyle/>
        <a:p>
          <a:endParaRPr lang="ru-RU"/>
        </a:p>
      </dgm:t>
    </dgm:pt>
    <dgm:pt modelId="{3B64417F-0CD0-4B15-9D26-B71F90FB9158}" type="pres">
      <dgm:prSet presAssocID="{8E4CAD48-0CC5-4B89-9977-4EE6E705013F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EF731B3-7EEA-4331-B050-DEDBA88AD787}" type="pres">
      <dgm:prSet presAssocID="{AC125896-9D4A-4AB7-8C3D-BBEA98FAC714}" presName="composite" presStyleCnt="0"/>
      <dgm:spPr/>
    </dgm:pt>
    <dgm:pt modelId="{C662A001-9A9C-4809-8EB9-589EB6E3D020}" type="pres">
      <dgm:prSet presAssocID="{AC125896-9D4A-4AB7-8C3D-BBEA98FAC714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C5B587D-59E8-4BA7-9384-1A1D61BF4DAC}" type="pres">
      <dgm:prSet presAssocID="{AC125896-9D4A-4AB7-8C3D-BBEA98FAC714}" presName="descendantText" presStyleLbl="alignAcc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AAE274F-4C30-4CC1-AEE8-047E28AD4DF4}" type="pres">
      <dgm:prSet presAssocID="{301FEC22-88AD-4EB6-87C7-12259884873E}" presName="sp" presStyleCnt="0"/>
      <dgm:spPr/>
    </dgm:pt>
    <dgm:pt modelId="{0C5639D9-6075-47CD-BA32-3B61E2A6A283}" type="pres">
      <dgm:prSet presAssocID="{293B6DAF-7ABB-482B-AB89-34C00FA96F55}" presName="composite" presStyleCnt="0"/>
      <dgm:spPr/>
    </dgm:pt>
    <dgm:pt modelId="{B259F191-4BE4-4945-8659-AAF2B0116CDD}" type="pres">
      <dgm:prSet presAssocID="{293B6DAF-7ABB-482B-AB89-34C00FA96F55}" presName="parentText" presStyleLbl="align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1CDDA60-B9CA-4B0C-A914-1C6E5303A23B}" type="pres">
      <dgm:prSet presAssocID="{293B6DAF-7ABB-482B-AB89-34C00FA96F55}" presName="descendantText" presStyleLbl="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4788E12-85B7-4E97-852C-79879DF6DECD}" type="pres">
      <dgm:prSet presAssocID="{2D3A73A2-3334-4C9B-9A50-BB6678ED2127}" presName="sp" presStyleCnt="0"/>
      <dgm:spPr/>
    </dgm:pt>
    <dgm:pt modelId="{6FEF2D2D-F2E0-4355-9255-1987650F5E9E}" type="pres">
      <dgm:prSet presAssocID="{1DD9F692-34E9-4080-9C4A-74A4926DDCD4}" presName="composite" presStyleCnt="0"/>
      <dgm:spPr/>
    </dgm:pt>
    <dgm:pt modelId="{E811FFDC-05BE-49C8-B4C1-15B7BA8B53EA}" type="pres">
      <dgm:prSet presAssocID="{1DD9F692-34E9-4080-9C4A-74A4926DDCD4}" presName="parentText" presStyleLbl="align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F93D59C-2F55-4F08-B859-5F0E1782003F}" type="pres">
      <dgm:prSet presAssocID="{1DD9F692-34E9-4080-9C4A-74A4926DDCD4}" presName="descendantText" presStyleLbl="alignAcc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6787526-E989-4BB9-B790-DB1526A22E3C}" type="pres">
      <dgm:prSet presAssocID="{392D3273-5C26-4524-989E-C8205861EFA1}" presName="sp" presStyleCnt="0"/>
      <dgm:spPr/>
    </dgm:pt>
    <dgm:pt modelId="{A7CB32EA-2F82-4C69-9A1B-52F339BEDD41}" type="pres">
      <dgm:prSet presAssocID="{69D67436-1C92-4AEF-9134-B1F9D0A5CC5D}" presName="composite" presStyleCnt="0"/>
      <dgm:spPr/>
    </dgm:pt>
    <dgm:pt modelId="{272A1177-6373-49C3-90D8-EDEA7224203B}" type="pres">
      <dgm:prSet presAssocID="{69D67436-1C92-4AEF-9134-B1F9D0A5CC5D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040907-B277-4A84-8870-99F28BB954EC}" type="pres">
      <dgm:prSet presAssocID="{69D67436-1C92-4AEF-9134-B1F9D0A5CC5D}" presName="descendantText" presStyleLbl="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098B8D8-E91A-4DF4-88C2-128C413C8EF5}" type="presOf" srcId="{0F90CCEA-78F7-419B-8C47-38D36A1A7996}" destId="{2F93D59C-2F55-4F08-B859-5F0E1782003F}" srcOrd="0" destOrd="0" presId="urn:microsoft.com/office/officeart/2005/8/layout/chevron2"/>
    <dgm:cxn modelId="{63FF8AEB-D9C7-4A8F-A57B-F158DDAFAFDA}" type="presOf" srcId="{C38916E0-610F-4312-B5CF-5DB8EDAD181C}" destId="{E1CDDA60-B9CA-4B0C-A914-1C6E5303A23B}" srcOrd="0" destOrd="0" presId="urn:microsoft.com/office/officeart/2005/8/layout/chevron2"/>
    <dgm:cxn modelId="{AEB56FF7-5BB7-487A-B071-90DE79F0D81D}" type="presOf" srcId="{8E4CAD48-0CC5-4B89-9977-4EE6E705013F}" destId="{3B64417F-0CD0-4B15-9D26-B71F90FB9158}" srcOrd="0" destOrd="0" presId="urn:microsoft.com/office/officeart/2005/8/layout/chevron2"/>
    <dgm:cxn modelId="{9E313F3E-06D8-45DD-A059-59C3935BBB2E}" srcId="{8E4CAD48-0CC5-4B89-9977-4EE6E705013F}" destId="{293B6DAF-7ABB-482B-AB89-34C00FA96F55}" srcOrd="1" destOrd="0" parTransId="{CA1860F2-7F8B-454E-9D01-3345BAC7AC32}" sibTransId="{2D3A73A2-3334-4C9B-9A50-BB6678ED2127}"/>
    <dgm:cxn modelId="{E6371120-7443-43B3-9BAA-83F03A0F8D6C}" srcId="{69D67436-1C92-4AEF-9134-B1F9D0A5CC5D}" destId="{903ED059-1B0F-4AB7-AFF3-66F3283578D0}" srcOrd="0" destOrd="0" parTransId="{677A918C-3E08-48D2-87BA-01503F770E30}" sibTransId="{2FBB5103-C2EB-4681-96F1-58BBA066C003}"/>
    <dgm:cxn modelId="{5549CB42-6555-465D-BE8E-F5CE3717973B}" srcId="{8E4CAD48-0CC5-4B89-9977-4EE6E705013F}" destId="{1DD9F692-34E9-4080-9C4A-74A4926DDCD4}" srcOrd="2" destOrd="0" parTransId="{68D9F9DB-88CD-42F1-AF66-84E73E4A5952}" sibTransId="{392D3273-5C26-4524-989E-C8205861EFA1}"/>
    <dgm:cxn modelId="{0BE3C8C0-2A96-4D10-BB8D-6891636105C2}" type="presOf" srcId="{1DD9F692-34E9-4080-9C4A-74A4926DDCD4}" destId="{E811FFDC-05BE-49C8-B4C1-15B7BA8B53EA}" srcOrd="0" destOrd="0" presId="urn:microsoft.com/office/officeart/2005/8/layout/chevron2"/>
    <dgm:cxn modelId="{22721721-146B-4AA9-9338-2C55A6A4F5E5}" srcId="{8E4CAD48-0CC5-4B89-9977-4EE6E705013F}" destId="{AC125896-9D4A-4AB7-8C3D-BBEA98FAC714}" srcOrd="0" destOrd="0" parTransId="{3C2DDBF8-8A40-4275-B6D1-F55235F3A3C1}" sibTransId="{301FEC22-88AD-4EB6-87C7-12259884873E}"/>
    <dgm:cxn modelId="{E4C25083-D1BB-46D3-98BA-7703A692D126}" type="presOf" srcId="{293B6DAF-7ABB-482B-AB89-34C00FA96F55}" destId="{B259F191-4BE4-4945-8659-AAF2B0116CDD}" srcOrd="0" destOrd="0" presId="urn:microsoft.com/office/officeart/2005/8/layout/chevron2"/>
    <dgm:cxn modelId="{C9BA8BE9-E414-42A7-AB9A-894AFCF4F6FF}" srcId="{AC125896-9D4A-4AB7-8C3D-BBEA98FAC714}" destId="{5D9EBC0B-D422-4FA8-86F4-FE2C9AEF9545}" srcOrd="0" destOrd="0" parTransId="{5B048795-C7E4-41A6-AA9D-62878846FC32}" sibTransId="{F329870E-96AA-4B0E-9CA4-315671C4AACE}"/>
    <dgm:cxn modelId="{201534AD-235A-40DA-AFE7-3A87B8BFAF29}" srcId="{293B6DAF-7ABB-482B-AB89-34C00FA96F55}" destId="{C38916E0-610F-4312-B5CF-5DB8EDAD181C}" srcOrd="0" destOrd="0" parTransId="{E88A0FC8-0C92-4B2A-8E19-1E457D36FC75}" sibTransId="{2739145F-7CAE-4689-B705-276BD7AC68CC}"/>
    <dgm:cxn modelId="{9EA3A586-604B-49A7-85ED-CD4C73193174}" srcId="{1DD9F692-34E9-4080-9C4A-74A4926DDCD4}" destId="{0F90CCEA-78F7-419B-8C47-38D36A1A7996}" srcOrd="0" destOrd="0" parTransId="{82071860-3043-485B-B51F-0AD16EC470CE}" sibTransId="{19BEDDA7-921F-459E-89ED-CC9077D00804}"/>
    <dgm:cxn modelId="{8E9AE07B-E106-4177-9092-70AF02627B1B}" srcId="{8E4CAD48-0CC5-4B89-9977-4EE6E705013F}" destId="{69D67436-1C92-4AEF-9134-B1F9D0A5CC5D}" srcOrd="3" destOrd="0" parTransId="{79FF3F20-599B-4073-B3A2-994BEDFFAAF5}" sibTransId="{E11A1DF4-74A6-4548-8897-0419B80FCC99}"/>
    <dgm:cxn modelId="{0FC028E3-20F0-404F-9B21-B443741E0220}" type="presOf" srcId="{AC125896-9D4A-4AB7-8C3D-BBEA98FAC714}" destId="{C662A001-9A9C-4809-8EB9-589EB6E3D020}" srcOrd="0" destOrd="0" presId="urn:microsoft.com/office/officeart/2005/8/layout/chevron2"/>
    <dgm:cxn modelId="{DF91D79C-9095-42BB-B602-5FFA9D6B96A8}" type="presOf" srcId="{903ED059-1B0F-4AB7-AFF3-66F3283578D0}" destId="{8B040907-B277-4A84-8870-99F28BB954EC}" srcOrd="0" destOrd="0" presId="urn:microsoft.com/office/officeart/2005/8/layout/chevron2"/>
    <dgm:cxn modelId="{662D09F9-A082-4B40-B57A-AEBC95D8BD2C}" type="presOf" srcId="{5D9EBC0B-D422-4FA8-86F4-FE2C9AEF9545}" destId="{4C5B587D-59E8-4BA7-9384-1A1D61BF4DAC}" srcOrd="0" destOrd="0" presId="urn:microsoft.com/office/officeart/2005/8/layout/chevron2"/>
    <dgm:cxn modelId="{41C986F4-DD59-4F14-9BA5-710294F0ECC7}" type="presOf" srcId="{69D67436-1C92-4AEF-9134-B1F9D0A5CC5D}" destId="{272A1177-6373-49C3-90D8-EDEA7224203B}" srcOrd="0" destOrd="0" presId="urn:microsoft.com/office/officeart/2005/8/layout/chevron2"/>
    <dgm:cxn modelId="{D8BE5457-2536-4F2C-A0FB-D29D8B27468F}" type="presParOf" srcId="{3B64417F-0CD0-4B15-9D26-B71F90FB9158}" destId="{0EF731B3-7EEA-4331-B050-DEDBA88AD787}" srcOrd="0" destOrd="0" presId="urn:microsoft.com/office/officeart/2005/8/layout/chevron2"/>
    <dgm:cxn modelId="{8FAC157B-FFFD-4FB0-8D02-AFC7FA623B24}" type="presParOf" srcId="{0EF731B3-7EEA-4331-B050-DEDBA88AD787}" destId="{C662A001-9A9C-4809-8EB9-589EB6E3D020}" srcOrd="0" destOrd="0" presId="urn:microsoft.com/office/officeart/2005/8/layout/chevron2"/>
    <dgm:cxn modelId="{32098189-6150-4B81-9D08-B2C75EABF794}" type="presParOf" srcId="{0EF731B3-7EEA-4331-B050-DEDBA88AD787}" destId="{4C5B587D-59E8-4BA7-9384-1A1D61BF4DAC}" srcOrd="1" destOrd="0" presId="urn:microsoft.com/office/officeart/2005/8/layout/chevron2"/>
    <dgm:cxn modelId="{117A025E-47E5-460F-9AC3-AF2192718130}" type="presParOf" srcId="{3B64417F-0CD0-4B15-9D26-B71F90FB9158}" destId="{0AAE274F-4C30-4CC1-AEE8-047E28AD4DF4}" srcOrd="1" destOrd="0" presId="urn:microsoft.com/office/officeart/2005/8/layout/chevron2"/>
    <dgm:cxn modelId="{EE23102B-E663-4586-95EB-946A9B990DE4}" type="presParOf" srcId="{3B64417F-0CD0-4B15-9D26-B71F90FB9158}" destId="{0C5639D9-6075-47CD-BA32-3B61E2A6A283}" srcOrd="2" destOrd="0" presId="urn:microsoft.com/office/officeart/2005/8/layout/chevron2"/>
    <dgm:cxn modelId="{7715C068-FDDC-45E8-A495-6EA345A7D2FF}" type="presParOf" srcId="{0C5639D9-6075-47CD-BA32-3B61E2A6A283}" destId="{B259F191-4BE4-4945-8659-AAF2B0116CDD}" srcOrd="0" destOrd="0" presId="urn:microsoft.com/office/officeart/2005/8/layout/chevron2"/>
    <dgm:cxn modelId="{2F82DB3C-1012-4D08-B6D6-D4B828FBB64B}" type="presParOf" srcId="{0C5639D9-6075-47CD-BA32-3B61E2A6A283}" destId="{E1CDDA60-B9CA-4B0C-A914-1C6E5303A23B}" srcOrd="1" destOrd="0" presId="urn:microsoft.com/office/officeart/2005/8/layout/chevron2"/>
    <dgm:cxn modelId="{928397E1-1D7A-40FF-84B2-6583DAF3DD5B}" type="presParOf" srcId="{3B64417F-0CD0-4B15-9D26-B71F90FB9158}" destId="{C4788E12-85B7-4E97-852C-79879DF6DECD}" srcOrd="3" destOrd="0" presId="urn:microsoft.com/office/officeart/2005/8/layout/chevron2"/>
    <dgm:cxn modelId="{030D8F5F-8ABE-4427-A168-2A0BF64C4C3B}" type="presParOf" srcId="{3B64417F-0CD0-4B15-9D26-B71F90FB9158}" destId="{6FEF2D2D-F2E0-4355-9255-1987650F5E9E}" srcOrd="4" destOrd="0" presId="urn:microsoft.com/office/officeart/2005/8/layout/chevron2"/>
    <dgm:cxn modelId="{72924A57-AB5B-48E2-A561-79EA5E79090D}" type="presParOf" srcId="{6FEF2D2D-F2E0-4355-9255-1987650F5E9E}" destId="{E811FFDC-05BE-49C8-B4C1-15B7BA8B53EA}" srcOrd="0" destOrd="0" presId="urn:microsoft.com/office/officeart/2005/8/layout/chevron2"/>
    <dgm:cxn modelId="{2516CA3F-338B-4D44-9DF1-8A6039168655}" type="presParOf" srcId="{6FEF2D2D-F2E0-4355-9255-1987650F5E9E}" destId="{2F93D59C-2F55-4F08-B859-5F0E1782003F}" srcOrd="1" destOrd="0" presId="urn:microsoft.com/office/officeart/2005/8/layout/chevron2"/>
    <dgm:cxn modelId="{1A4893E7-FA5E-42A5-A234-4C692A55EA9F}" type="presParOf" srcId="{3B64417F-0CD0-4B15-9D26-B71F90FB9158}" destId="{F6787526-E989-4BB9-B790-DB1526A22E3C}" srcOrd="5" destOrd="0" presId="urn:microsoft.com/office/officeart/2005/8/layout/chevron2"/>
    <dgm:cxn modelId="{4B5A1A01-EA02-4591-8EC3-91C3E916F3D5}" type="presParOf" srcId="{3B64417F-0CD0-4B15-9D26-B71F90FB9158}" destId="{A7CB32EA-2F82-4C69-9A1B-52F339BEDD41}" srcOrd="6" destOrd="0" presId="urn:microsoft.com/office/officeart/2005/8/layout/chevron2"/>
    <dgm:cxn modelId="{2B0128D9-36FE-448A-A662-9F86E88CB7C0}" type="presParOf" srcId="{A7CB32EA-2F82-4C69-9A1B-52F339BEDD41}" destId="{272A1177-6373-49C3-90D8-EDEA7224203B}" srcOrd="0" destOrd="0" presId="urn:microsoft.com/office/officeart/2005/8/layout/chevron2"/>
    <dgm:cxn modelId="{0538B3B5-6540-4F28-9BA8-B94C339C3F0B}" type="presParOf" srcId="{A7CB32EA-2F82-4C69-9A1B-52F339BEDD41}" destId="{8B040907-B277-4A84-8870-99F28BB954EC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16E6669-E579-4374-8470-1138A85D06FD}" type="doc">
      <dgm:prSet loTypeId="urn:microsoft.com/office/officeart/2005/8/layout/balance1" loCatId="relationship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8251EFD0-284F-4804-A2E4-7759A493640B}">
      <dgm:prSet phldrT="[Текст]"/>
      <dgm:spPr/>
      <dgm:t>
        <a:bodyPr/>
        <a:lstStyle/>
        <a:p>
          <a:r>
            <a:rPr lang="ru-RU" dirty="0" smtClean="0"/>
            <a:t>50</a:t>
          </a:r>
          <a:endParaRPr lang="ru-RU" dirty="0"/>
        </a:p>
      </dgm:t>
    </dgm:pt>
    <dgm:pt modelId="{277B6D07-A38F-4AA7-8EA8-CE20FC33D2E0}" type="sibTrans" cxnId="{15237D99-61D4-4164-8BE5-23C3B95079DB}">
      <dgm:prSet/>
      <dgm:spPr/>
      <dgm:t>
        <a:bodyPr/>
        <a:lstStyle/>
        <a:p>
          <a:endParaRPr lang="ru-RU"/>
        </a:p>
      </dgm:t>
    </dgm:pt>
    <dgm:pt modelId="{25647C04-5B1A-4247-9226-779701E366DB}" type="parTrans" cxnId="{15237D99-61D4-4164-8BE5-23C3B95079DB}">
      <dgm:prSet/>
      <dgm:spPr/>
      <dgm:t>
        <a:bodyPr/>
        <a:lstStyle/>
        <a:p>
          <a:endParaRPr lang="ru-RU"/>
        </a:p>
      </dgm:t>
    </dgm:pt>
    <dgm:pt modelId="{77C048F8-481E-4A72-A076-119A3F842553}">
      <dgm:prSet phldrT="[Текст]"/>
      <dgm:spPr>
        <a:noFill/>
        <a:ln>
          <a:noFill/>
        </a:ln>
      </dgm:spPr>
      <dgm:t>
        <a:bodyPr/>
        <a:lstStyle/>
        <a:p>
          <a:endParaRPr lang="ru-RU" dirty="0"/>
        </a:p>
      </dgm:t>
    </dgm:pt>
    <dgm:pt modelId="{91D6CD52-1AB1-4C9B-932B-617BCA7C5820}" type="parTrans" cxnId="{EB17D07A-5418-4588-B1AF-14A23C2AA2C0}">
      <dgm:prSet/>
      <dgm:spPr/>
      <dgm:t>
        <a:bodyPr/>
        <a:lstStyle/>
        <a:p>
          <a:endParaRPr lang="ru-RU"/>
        </a:p>
      </dgm:t>
    </dgm:pt>
    <dgm:pt modelId="{E13F4E73-D9BC-455A-843E-D3EAE22FFC4E}" type="sibTrans" cxnId="{EB17D07A-5418-4588-B1AF-14A23C2AA2C0}">
      <dgm:prSet/>
      <dgm:spPr/>
      <dgm:t>
        <a:bodyPr/>
        <a:lstStyle/>
        <a:p>
          <a:endParaRPr lang="ru-RU"/>
        </a:p>
      </dgm:t>
    </dgm:pt>
    <dgm:pt modelId="{46275BCA-D9FE-4594-AF99-93D744119306}">
      <dgm:prSet phldrT="[Текст]"/>
      <dgm:spPr/>
      <dgm:t>
        <a:bodyPr/>
        <a:lstStyle/>
        <a:p>
          <a:r>
            <a:rPr lang="ru-RU" dirty="0" smtClean="0"/>
            <a:t>50</a:t>
          </a:r>
          <a:endParaRPr lang="ru-RU" dirty="0"/>
        </a:p>
      </dgm:t>
    </dgm:pt>
    <dgm:pt modelId="{E8BCCABF-588E-415A-BFFE-755067F77CCE}" type="sibTrans" cxnId="{00E95178-925C-4B4E-8CFA-0C58B5D7E32A}">
      <dgm:prSet/>
      <dgm:spPr/>
      <dgm:t>
        <a:bodyPr/>
        <a:lstStyle/>
        <a:p>
          <a:endParaRPr lang="ru-RU"/>
        </a:p>
      </dgm:t>
    </dgm:pt>
    <dgm:pt modelId="{260D23DB-43CD-4B4C-9250-BF5325E910E1}" type="parTrans" cxnId="{00E95178-925C-4B4E-8CFA-0C58B5D7E32A}">
      <dgm:prSet/>
      <dgm:spPr/>
      <dgm:t>
        <a:bodyPr/>
        <a:lstStyle/>
        <a:p>
          <a:endParaRPr lang="ru-RU"/>
        </a:p>
      </dgm:t>
    </dgm:pt>
    <dgm:pt modelId="{BCF23583-DB95-452D-979F-99B529D982A0}">
      <dgm:prSet phldrT="[Текст]"/>
      <dgm:spPr>
        <a:noFill/>
        <a:ln>
          <a:noFill/>
        </a:ln>
      </dgm:spPr>
      <dgm:t>
        <a:bodyPr/>
        <a:lstStyle/>
        <a:p>
          <a:endParaRPr lang="ru-RU" dirty="0"/>
        </a:p>
      </dgm:t>
    </dgm:pt>
    <dgm:pt modelId="{B909E89E-6AC4-4BC8-A004-2BB2A2B3A022}" type="parTrans" cxnId="{1AA9B8D3-7A03-4E7D-BD3F-9A80F4203495}">
      <dgm:prSet/>
      <dgm:spPr/>
      <dgm:t>
        <a:bodyPr/>
        <a:lstStyle/>
        <a:p>
          <a:endParaRPr lang="ru-RU"/>
        </a:p>
      </dgm:t>
    </dgm:pt>
    <dgm:pt modelId="{9429D40D-E5E1-4800-A1D1-E45E6A0E3D57}" type="sibTrans" cxnId="{1AA9B8D3-7A03-4E7D-BD3F-9A80F4203495}">
      <dgm:prSet/>
      <dgm:spPr/>
      <dgm:t>
        <a:bodyPr/>
        <a:lstStyle/>
        <a:p>
          <a:endParaRPr lang="ru-RU"/>
        </a:p>
      </dgm:t>
    </dgm:pt>
    <dgm:pt modelId="{E29503BD-9DD9-4E18-9549-D4B3E7A26F57}" type="pres">
      <dgm:prSet presAssocID="{016E6669-E579-4374-8470-1138A85D06FD}" presName="outerComposite" presStyleCnt="0">
        <dgm:presLayoutVars>
          <dgm:chMax val="2"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E40402E-7EA2-40F7-A339-CED6EEC4F61E}" type="pres">
      <dgm:prSet presAssocID="{016E6669-E579-4374-8470-1138A85D06FD}" presName="dummyMaxCanvas" presStyleCnt="0"/>
      <dgm:spPr/>
    </dgm:pt>
    <dgm:pt modelId="{24073221-0ABF-4B78-9BB1-DC0C7C0E6C77}" type="pres">
      <dgm:prSet presAssocID="{016E6669-E579-4374-8470-1138A85D06FD}" presName="parentComposite" presStyleCnt="0"/>
      <dgm:spPr/>
    </dgm:pt>
    <dgm:pt modelId="{3E751C15-8365-418E-B2F4-B5F6F5649909}" type="pres">
      <dgm:prSet presAssocID="{016E6669-E579-4374-8470-1138A85D06FD}" presName="parent1" presStyleLbl="alignAccFollowNode1" presStyleIdx="0" presStyleCnt="4" custLinFactNeighborX="1074" custLinFactNeighborY="95357">
        <dgm:presLayoutVars>
          <dgm:chMax val="4"/>
        </dgm:presLayoutVars>
      </dgm:prSet>
      <dgm:spPr/>
      <dgm:t>
        <a:bodyPr/>
        <a:lstStyle/>
        <a:p>
          <a:endParaRPr lang="ru-RU"/>
        </a:p>
      </dgm:t>
    </dgm:pt>
    <dgm:pt modelId="{DF63CD7A-3E9B-4721-AF5B-E14B9F92CA8A}" type="pres">
      <dgm:prSet presAssocID="{016E6669-E579-4374-8470-1138A85D06FD}" presName="parent2" presStyleLbl="alignAccFollowNode1" presStyleIdx="1" presStyleCnt="4" custLinFactNeighborX="-1465" custLinFactNeighborY="95357">
        <dgm:presLayoutVars>
          <dgm:chMax val="4"/>
        </dgm:presLayoutVars>
      </dgm:prSet>
      <dgm:spPr/>
      <dgm:t>
        <a:bodyPr/>
        <a:lstStyle/>
        <a:p>
          <a:endParaRPr lang="ru-RU"/>
        </a:p>
      </dgm:t>
    </dgm:pt>
    <dgm:pt modelId="{A907CAA1-D5C9-4CE1-A620-1A3304338898}" type="pres">
      <dgm:prSet presAssocID="{016E6669-E579-4374-8470-1138A85D06FD}" presName="childrenComposite" presStyleCnt="0"/>
      <dgm:spPr/>
    </dgm:pt>
    <dgm:pt modelId="{CE672933-4F3D-4FE1-8E35-C10EC6B96A38}" type="pres">
      <dgm:prSet presAssocID="{016E6669-E579-4374-8470-1138A85D06FD}" presName="dummyMaxCanvas_ChildArea" presStyleCnt="0"/>
      <dgm:spPr/>
    </dgm:pt>
    <dgm:pt modelId="{DC3D3AF6-B57C-4FD9-9199-50369D321569}" type="pres">
      <dgm:prSet presAssocID="{016E6669-E579-4374-8470-1138A85D06FD}" presName="fulcrum" presStyleLbl="alignAccFollowNode1" presStyleIdx="2" presStyleCnt="4"/>
      <dgm:spPr>
        <a:solidFill>
          <a:schemeClr val="tx2">
            <a:lumMod val="75000"/>
            <a:alpha val="90000"/>
          </a:schemeClr>
        </a:solidFill>
      </dgm:spPr>
    </dgm:pt>
    <dgm:pt modelId="{4E444A15-3ADC-48C2-A7CE-40BB11B89DE2}" type="pres">
      <dgm:prSet presAssocID="{016E6669-E579-4374-8470-1138A85D06FD}" presName="balance_11" presStyleLbl="alignAccFollowNode1" presStyleIdx="3" presStyleCnt="4">
        <dgm:presLayoutVars>
          <dgm:bulletEnabled val="1"/>
        </dgm:presLayoutVars>
      </dgm:prSet>
      <dgm:spPr>
        <a:solidFill>
          <a:schemeClr val="tx2">
            <a:alpha val="90000"/>
          </a:schemeClr>
        </a:solidFill>
      </dgm:spPr>
    </dgm:pt>
    <dgm:pt modelId="{06540112-4D93-4F8C-BFFA-2018CE100A20}" type="pres">
      <dgm:prSet presAssocID="{016E6669-E579-4374-8470-1138A85D06FD}" presName="left_11_1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9A689F1-0E39-4DB8-90F1-09C1FAA346F9}" type="pres">
      <dgm:prSet presAssocID="{016E6669-E579-4374-8470-1138A85D06FD}" presName="right_11_1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0E95178-925C-4B4E-8CFA-0C58B5D7E32A}" srcId="{016E6669-E579-4374-8470-1138A85D06FD}" destId="{46275BCA-D9FE-4594-AF99-93D744119306}" srcOrd="0" destOrd="0" parTransId="{260D23DB-43CD-4B4C-9250-BF5325E910E1}" sibTransId="{E8BCCABF-588E-415A-BFFE-755067F77CCE}"/>
    <dgm:cxn modelId="{1AA9B8D3-7A03-4E7D-BD3F-9A80F4203495}" srcId="{8251EFD0-284F-4804-A2E4-7759A493640B}" destId="{BCF23583-DB95-452D-979F-99B529D982A0}" srcOrd="0" destOrd="0" parTransId="{B909E89E-6AC4-4BC8-A004-2BB2A2B3A022}" sibTransId="{9429D40D-E5E1-4800-A1D1-E45E6A0E3D57}"/>
    <dgm:cxn modelId="{31ACFDFE-204A-4A90-A392-A592E140EF61}" type="presOf" srcId="{016E6669-E579-4374-8470-1138A85D06FD}" destId="{E29503BD-9DD9-4E18-9549-D4B3E7A26F57}" srcOrd="0" destOrd="0" presId="urn:microsoft.com/office/officeart/2005/8/layout/balance1"/>
    <dgm:cxn modelId="{EB17D07A-5418-4588-B1AF-14A23C2AA2C0}" srcId="{46275BCA-D9FE-4594-AF99-93D744119306}" destId="{77C048F8-481E-4A72-A076-119A3F842553}" srcOrd="0" destOrd="0" parTransId="{91D6CD52-1AB1-4C9B-932B-617BCA7C5820}" sibTransId="{E13F4E73-D9BC-455A-843E-D3EAE22FFC4E}"/>
    <dgm:cxn modelId="{3003342D-2828-4A2C-B63F-7A013A02414E}" type="presOf" srcId="{46275BCA-D9FE-4594-AF99-93D744119306}" destId="{3E751C15-8365-418E-B2F4-B5F6F5649909}" srcOrd="0" destOrd="0" presId="urn:microsoft.com/office/officeart/2005/8/layout/balance1"/>
    <dgm:cxn modelId="{15237D99-61D4-4164-8BE5-23C3B95079DB}" srcId="{016E6669-E579-4374-8470-1138A85D06FD}" destId="{8251EFD0-284F-4804-A2E4-7759A493640B}" srcOrd="1" destOrd="0" parTransId="{25647C04-5B1A-4247-9226-779701E366DB}" sibTransId="{277B6D07-A38F-4AA7-8EA8-CE20FC33D2E0}"/>
    <dgm:cxn modelId="{F8674962-492D-4AC1-9BF9-4E96E48982AD}" type="presOf" srcId="{77C048F8-481E-4A72-A076-119A3F842553}" destId="{06540112-4D93-4F8C-BFFA-2018CE100A20}" srcOrd="0" destOrd="0" presId="urn:microsoft.com/office/officeart/2005/8/layout/balance1"/>
    <dgm:cxn modelId="{F05CAE1C-D8D3-4D90-87C9-5027EA00F01F}" type="presOf" srcId="{8251EFD0-284F-4804-A2E4-7759A493640B}" destId="{DF63CD7A-3E9B-4721-AF5B-E14B9F92CA8A}" srcOrd="0" destOrd="0" presId="urn:microsoft.com/office/officeart/2005/8/layout/balance1"/>
    <dgm:cxn modelId="{4360AE19-5C5C-48EF-8AD2-D42FCA30D795}" type="presOf" srcId="{BCF23583-DB95-452D-979F-99B529D982A0}" destId="{E9A689F1-0E39-4DB8-90F1-09C1FAA346F9}" srcOrd="0" destOrd="0" presId="urn:microsoft.com/office/officeart/2005/8/layout/balance1"/>
    <dgm:cxn modelId="{24916245-4B00-438F-B435-C5ADC35E2B39}" type="presParOf" srcId="{E29503BD-9DD9-4E18-9549-D4B3E7A26F57}" destId="{AE40402E-7EA2-40F7-A339-CED6EEC4F61E}" srcOrd="0" destOrd="0" presId="urn:microsoft.com/office/officeart/2005/8/layout/balance1"/>
    <dgm:cxn modelId="{6AEAF90D-258C-4745-B2CD-89252A0D9872}" type="presParOf" srcId="{E29503BD-9DD9-4E18-9549-D4B3E7A26F57}" destId="{24073221-0ABF-4B78-9BB1-DC0C7C0E6C77}" srcOrd="1" destOrd="0" presId="urn:microsoft.com/office/officeart/2005/8/layout/balance1"/>
    <dgm:cxn modelId="{4FAE574F-FE4D-4280-832E-9497C8F85899}" type="presParOf" srcId="{24073221-0ABF-4B78-9BB1-DC0C7C0E6C77}" destId="{3E751C15-8365-418E-B2F4-B5F6F5649909}" srcOrd="0" destOrd="0" presId="urn:microsoft.com/office/officeart/2005/8/layout/balance1"/>
    <dgm:cxn modelId="{A33DF12F-39E3-48F9-BEFC-D576F0CC66F7}" type="presParOf" srcId="{24073221-0ABF-4B78-9BB1-DC0C7C0E6C77}" destId="{DF63CD7A-3E9B-4721-AF5B-E14B9F92CA8A}" srcOrd="1" destOrd="0" presId="urn:microsoft.com/office/officeart/2005/8/layout/balance1"/>
    <dgm:cxn modelId="{078B559E-DB77-41FB-9B5F-766279482D5F}" type="presParOf" srcId="{E29503BD-9DD9-4E18-9549-D4B3E7A26F57}" destId="{A907CAA1-D5C9-4CE1-A620-1A3304338898}" srcOrd="2" destOrd="0" presId="urn:microsoft.com/office/officeart/2005/8/layout/balance1"/>
    <dgm:cxn modelId="{1E5572C1-6100-4AB4-AF86-EE7E3FCAFD70}" type="presParOf" srcId="{A907CAA1-D5C9-4CE1-A620-1A3304338898}" destId="{CE672933-4F3D-4FE1-8E35-C10EC6B96A38}" srcOrd="0" destOrd="0" presId="urn:microsoft.com/office/officeart/2005/8/layout/balance1"/>
    <dgm:cxn modelId="{CD09C924-3CC2-40FC-85B6-FDE872848AD5}" type="presParOf" srcId="{A907CAA1-D5C9-4CE1-A620-1A3304338898}" destId="{DC3D3AF6-B57C-4FD9-9199-50369D321569}" srcOrd="1" destOrd="0" presId="urn:microsoft.com/office/officeart/2005/8/layout/balance1"/>
    <dgm:cxn modelId="{C50D23A3-8128-4488-A0AF-41FA306A1EA0}" type="presParOf" srcId="{A907CAA1-D5C9-4CE1-A620-1A3304338898}" destId="{4E444A15-3ADC-48C2-A7CE-40BB11B89DE2}" srcOrd="2" destOrd="0" presId="urn:microsoft.com/office/officeart/2005/8/layout/balance1"/>
    <dgm:cxn modelId="{4537B97F-62EE-4623-BA7A-BF3294C38F8E}" type="presParOf" srcId="{A907CAA1-D5C9-4CE1-A620-1A3304338898}" destId="{06540112-4D93-4F8C-BFFA-2018CE100A20}" srcOrd="3" destOrd="0" presId="urn:microsoft.com/office/officeart/2005/8/layout/balance1"/>
    <dgm:cxn modelId="{72BBDDB5-2F7E-4017-9B46-87CC99925C72}" type="presParOf" srcId="{A907CAA1-D5C9-4CE1-A620-1A3304338898}" destId="{E9A689F1-0E39-4DB8-90F1-09C1FAA346F9}" srcOrd="4" destOrd="0" presId="urn:microsoft.com/office/officeart/2005/8/layout/balance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6F6041C-E149-422F-8B81-11E7C4B66FCF}" type="doc">
      <dgm:prSet loTypeId="urn:microsoft.com/office/officeart/2005/8/layout/lProcess3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58372A09-AD32-4174-BEF6-EC945B1DF202}">
      <dgm:prSet phldrT="[Текст]"/>
      <dgm:spPr/>
      <dgm:t>
        <a:bodyPr/>
        <a:lstStyle/>
        <a:p>
          <a:r>
            <a:rPr lang="ru-RU" dirty="0" smtClean="0"/>
            <a:t>2018 год</a:t>
          </a:r>
          <a:endParaRPr lang="ru-RU" dirty="0"/>
        </a:p>
      </dgm:t>
    </dgm:pt>
    <dgm:pt modelId="{A464F313-8EC3-42EE-B73F-C1E5D6DB044A}" type="parTrans" cxnId="{F289D55E-6D5A-426E-8055-942840BD2593}">
      <dgm:prSet/>
      <dgm:spPr/>
      <dgm:t>
        <a:bodyPr/>
        <a:lstStyle/>
        <a:p>
          <a:endParaRPr lang="ru-RU"/>
        </a:p>
      </dgm:t>
    </dgm:pt>
    <dgm:pt modelId="{C20D6A50-0A4E-423B-89F0-055B60C3DA62}" type="sibTrans" cxnId="{F289D55E-6D5A-426E-8055-942840BD2593}">
      <dgm:prSet/>
      <dgm:spPr/>
      <dgm:t>
        <a:bodyPr/>
        <a:lstStyle/>
        <a:p>
          <a:endParaRPr lang="ru-RU"/>
        </a:p>
      </dgm:t>
    </dgm:pt>
    <dgm:pt modelId="{75201A56-3D16-4731-9CDC-CC77B76E0410}">
      <dgm:prSet/>
      <dgm:spPr/>
      <dgm:t>
        <a:bodyPr/>
        <a:lstStyle/>
        <a:p>
          <a:r>
            <a:rPr lang="ru-RU" dirty="0" smtClean="0"/>
            <a:t>2019 год </a:t>
          </a:r>
        </a:p>
      </dgm:t>
    </dgm:pt>
    <dgm:pt modelId="{E3721E81-581B-41D3-A5F0-C987F7733B35}" type="parTrans" cxnId="{F0308867-C1C8-4DAB-B2E2-74AB14EDFDE2}">
      <dgm:prSet/>
      <dgm:spPr/>
      <dgm:t>
        <a:bodyPr/>
        <a:lstStyle/>
        <a:p>
          <a:endParaRPr lang="ru-RU"/>
        </a:p>
      </dgm:t>
    </dgm:pt>
    <dgm:pt modelId="{8E3F6F6B-4DF7-4EA6-8F70-31ED994EF809}" type="sibTrans" cxnId="{F0308867-C1C8-4DAB-B2E2-74AB14EDFDE2}">
      <dgm:prSet/>
      <dgm:spPr/>
      <dgm:t>
        <a:bodyPr/>
        <a:lstStyle/>
        <a:p>
          <a:endParaRPr lang="ru-RU"/>
        </a:p>
      </dgm:t>
    </dgm:pt>
    <dgm:pt modelId="{C3E0BB73-FEB1-4C1B-B3B6-3BC58D2CB91C}">
      <dgm:prSet/>
      <dgm:spPr/>
      <dgm:t>
        <a:bodyPr/>
        <a:lstStyle/>
        <a:p>
          <a:r>
            <a:rPr lang="ru-RU" dirty="0" smtClean="0"/>
            <a:t>2020 год</a:t>
          </a:r>
          <a:endParaRPr lang="ru-RU" dirty="0"/>
        </a:p>
      </dgm:t>
    </dgm:pt>
    <dgm:pt modelId="{0718DA73-AC0A-46D7-91CE-78A67432427F}" type="parTrans" cxnId="{ADB3CF5E-8A7E-4E05-B4FB-376B354F4655}">
      <dgm:prSet/>
      <dgm:spPr/>
      <dgm:t>
        <a:bodyPr/>
        <a:lstStyle/>
        <a:p>
          <a:endParaRPr lang="ru-RU"/>
        </a:p>
      </dgm:t>
    </dgm:pt>
    <dgm:pt modelId="{A0EF812D-0969-42D7-9333-3B94B019618B}" type="sibTrans" cxnId="{ADB3CF5E-8A7E-4E05-B4FB-376B354F4655}">
      <dgm:prSet/>
      <dgm:spPr/>
      <dgm:t>
        <a:bodyPr/>
        <a:lstStyle/>
        <a:p>
          <a:endParaRPr lang="ru-RU"/>
        </a:p>
      </dgm:t>
    </dgm:pt>
    <dgm:pt modelId="{30D69BD9-F0BF-4AFB-9C01-B19FA7D5DC0C}">
      <dgm:prSet phldrT="[Текст]"/>
      <dgm:spPr/>
      <dgm:t>
        <a:bodyPr/>
        <a:lstStyle/>
        <a:p>
          <a:endParaRPr lang="ru-RU" dirty="0"/>
        </a:p>
      </dgm:t>
    </dgm:pt>
    <dgm:pt modelId="{9FF4305A-D456-44A9-BDBE-59D879F68CBE}" type="parTrans" cxnId="{14D9FB90-F409-4A88-B86D-EB46F2489F17}">
      <dgm:prSet/>
      <dgm:spPr/>
      <dgm:t>
        <a:bodyPr/>
        <a:lstStyle/>
        <a:p>
          <a:endParaRPr lang="ru-RU"/>
        </a:p>
      </dgm:t>
    </dgm:pt>
    <dgm:pt modelId="{8533B205-A891-46E3-941F-F8BF1AA0A096}" type="sibTrans" cxnId="{14D9FB90-F409-4A88-B86D-EB46F2489F17}">
      <dgm:prSet/>
      <dgm:spPr/>
      <dgm:t>
        <a:bodyPr/>
        <a:lstStyle/>
        <a:p>
          <a:endParaRPr lang="ru-RU"/>
        </a:p>
      </dgm:t>
    </dgm:pt>
    <dgm:pt modelId="{7AC8E7E0-18F3-4565-8283-FFB08D26D26C}">
      <dgm:prSet phldrT="[Текст]"/>
      <dgm:spPr/>
      <dgm:t>
        <a:bodyPr/>
        <a:lstStyle/>
        <a:p>
          <a:endParaRPr lang="ru-RU" dirty="0"/>
        </a:p>
      </dgm:t>
    </dgm:pt>
    <dgm:pt modelId="{641E07F8-CA12-46E7-882F-6B41FF5C28B1}" type="parTrans" cxnId="{438DE75E-BD65-4C70-96C7-B712CC7108DE}">
      <dgm:prSet/>
      <dgm:spPr/>
      <dgm:t>
        <a:bodyPr/>
        <a:lstStyle/>
        <a:p>
          <a:endParaRPr lang="ru-RU"/>
        </a:p>
      </dgm:t>
    </dgm:pt>
    <dgm:pt modelId="{FECC97BB-F94C-4416-8D80-6F5CA75F6777}" type="sibTrans" cxnId="{438DE75E-BD65-4C70-96C7-B712CC7108DE}">
      <dgm:prSet/>
      <dgm:spPr/>
      <dgm:t>
        <a:bodyPr/>
        <a:lstStyle/>
        <a:p>
          <a:endParaRPr lang="ru-RU"/>
        </a:p>
      </dgm:t>
    </dgm:pt>
    <dgm:pt modelId="{1F9BCB08-63C8-4D27-92B6-0E5BB94A7F03}">
      <dgm:prSet/>
      <dgm:spPr/>
      <dgm:t>
        <a:bodyPr/>
        <a:lstStyle/>
        <a:p>
          <a:endParaRPr lang="ru-RU" dirty="0"/>
        </a:p>
      </dgm:t>
    </dgm:pt>
    <dgm:pt modelId="{B2A350FC-8161-409A-A33E-2BA8EC0A19A2}" type="parTrans" cxnId="{A7DD2F7F-6F24-4963-A2A7-C23E1CDAEBE7}">
      <dgm:prSet/>
      <dgm:spPr/>
      <dgm:t>
        <a:bodyPr/>
        <a:lstStyle/>
        <a:p>
          <a:endParaRPr lang="ru-RU"/>
        </a:p>
      </dgm:t>
    </dgm:pt>
    <dgm:pt modelId="{CAA49A75-AA4A-4854-8A97-7EEEC85C215A}" type="sibTrans" cxnId="{A7DD2F7F-6F24-4963-A2A7-C23E1CDAEBE7}">
      <dgm:prSet/>
      <dgm:spPr/>
      <dgm:t>
        <a:bodyPr/>
        <a:lstStyle/>
        <a:p>
          <a:endParaRPr lang="ru-RU"/>
        </a:p>
      </dgm:t>
    </dgm:pt>
    <dgm:pt modelId="{90670D26-88E5-4D0E-8602-04C2BBBCFB0B}">
      <dgm:prSet/>
      <dgm:spPr/>
      <dgm:t>
        <a:bodyPr/>
        <a:lstStyle/>
        <a:p>
          <a:endParaRPr lang="ru-RU" dirty="0"/>
        </a:p>
      </dgm:t>
    </dgm:pt>
    <dgm:pt modelId="{F3D6394B-8DB3-47A5-A385-8F9586E7ABC1}" type="parTrans" cxnId="{D01B7CE9-F920-4A7B-9D65-B1EF6769476C}">
      <dgm:prSet/>
      <dgm:spPr/>
      <dgm:t>
        <a:bodyPr/>
        <a:lstStyle/>
        <a:p>
          <a:endParaRPr lang="ru-RU"/>
        </a:p>
      </dgm:t>
    </dgm:pt>
    <dgm:pt modelId="{2D21AD76-6152-441B-9C49-2BCDA7DABA72}" type="sibTrans" cxnId="{D01B7CE9-F920-4A7B-9D65-B1EF6769476C}">
      <dgm:prSet/>
      <dgm:spPr/>
      <dgm:t>
        <a:bodyPr/>
        <a:lstStyle/>
        <a:p>
          <a:endParaRPr lang="ru-RU"/>
        </a:p>
      </dgm:t>
    </dgm:pt>
    <dgm:pt modelId="{84D55ADF-5A6E-49F7-B9C9-E95E683E2100}">
      <dgm:prSet/>
      <dgm:spPr/>
      <dgm:t>
        <a:bodyPr/>
        <a:lstStyle/>
        <a:p>
          <a:endParaRPr lang="ru-RU" dirty="0"/>
        </a:p>
      </dgm:t>
    </dgm:pt>
    <dgm:pt modelId="{D7BA2E69-B6CF-4316-AA77-3996E0058517}" type="parTrans" cxnId="{EBF4AF52-8BAC-41B9-A0CA-9FB15AFA4C2A}">
      <dgm:prSet/>
      <dgm:spPr/>
      <dgm:t>
        <a:bodyPr/>
        <a:lstStyle/>
        <a:p>
          <a:endParaRPr lang="ru-RU"/>
        </a:p>
      </dgm:t>
    </dgm:pt>
    <dgm:pt modelId="{5CBEBCCD-863A-44AC-8A1E-69730B5085A6}" type="sibTrans" cxnId="{EBF4AF52-8BAC-41B9-A0CA-9FB15AFA4C2A}">
      <dgm:prSet/>
      <dgm:spPr/>
      <dgm:t>
        <a:bodyPr/>
        <a:lstStyle/>
        <a:p>
          <a:endParaRPr lang="ru-RU"/>
        </a:p>
      </dgm:t>
    </dgm:pt>
    <dgm:pt modelId="{66498E0B-3B45-4C39-AD49-3D00F314CFE0}">
      <dgm:prSet/>
      <dgm:spPr/>
      <dgm:t>
        <a:bodyPr/>
        <a:lstStyle/>
        <a:p>
          <a:endParaRPr lang="ru-RU" dirty="0"/>
        </a:p>
      </dgm:t>
    </dgm:pt>
    <dgm:pt modelId="{44A235E8-90AE-4B80-B637-2B3871EF3649}" type="parTrans" cxnId="{9A10D5CC-CC08-483C-8A14-D6FA5CC0BC86}">
      <dgm:prSet/>
      <dgm:spPr/>
      <dgm:t>
        <a:bodyPr/>
        <a:lstStyle/>
        <a:p>
          <a:endParaRPr lang="ru-RU"/>
        </a:p>
      </dgm:t>
    </dgm:pt>
    <dgm:pt modelId="{F15D5267-39A5-4954-86A1-923DAB1C07E6}" type="sibTrans" cxnId="{9A10D5CC-CC08-483C-8A14-D6FA5CC0BC86}">
      <dgm:prSet/>
      <dgm:spPr/>
      <dgm:t>
        <a:bodyPr/>
        <a:lstStyle/>
        <a:p>
          <a:endParaRPr lang="ru-RU"/>
        </a:p>
      </dgm:t>
    </dgm:pt>
    <dgm:pt modelId="{AD6F1155-F9D9-4323-ADF9-679490739000}">
      <dgm:prSet/>
      <dgm:spPr/>
      <dgm:t>
        <a:bodyPr/>
        <a:lstStyle/>
        <a:p>
          <a:endParaRPr lang="ru-RU" dirty="0"/>
        </a:p>
      </dgm:t>
    </dgm:pt>
    <dgm:pt modelId="{B9F246B0-8713-4840-83D3-58F0A4061481}" type="parTrans" cxnId="{75D9A1CD-A470-40BD-B561-E04C3DCA3A91}">
      <dgm:prSet/>
      <dgm:spPr/>
      <dgm:t>
        <a:bodyPr/>
        <a:lstStyle/>
        <a:p>
          <a:endParaRPr lang="ru-RU"/>
        </a:p>
      </dgm:t>
    </dgm:pt>
    <dgm:pt modelId="{7414B22F-3907-4474-B2B7-ADFB53C79240}" type="sibTrans" cxnId="{75D9A1CD-A470-40BD-B561-E04C3DCA3A91}">
      <dgm:prSet/>
      <dgm:spPr/>
      <dgm:t>
        <a:bodyPr/>
        <a:lstStyle/>
        <a:p>
          <a:endParaRPr lang="ru-RU"/>
        </a:p>
      </dgm:t>
    </dgm:pt>
    <dgm:pt modelId="{94D5A721-ABBA-40F7-9E5F-7B44B5604BD3}">
      <dgm:prSet phldrT="[Текст]"/>
      <dgm:spPr/>
      <dgm:t>
        <a:bodyPr/>
        <a:lstStyle/>
        <a:p>
          <a:endParaRPr lang="ru-RU" dirty="0"/>
        </a:p>
      </dgm:t>
    </dgm:pt>
    <dgm:pt modelId="{A6AFD70E-BCF3-4DCC-81B4-0CFF5639D12A}" type="parTrans" cxnId="{6A8C8AE9-229C-4B9D-8641-BED7D2DB8356}">
      <dgm:prSet/>
      <dgm:spPr/>
      <dgm:t>
        <a:bodyPr/>
        <a:lstStyle/>
        <a:p>
          <a:endParaRPr lang="ru-RU"/>
        </a:p>
      </dgm:t>
    </dgm:pt>
    <dgm:pt modelId="{962A39C7-0884-43E9-AB3D-DBCA26C34856}" type="sibTrans" cxnId="{6A8C8AE9-229C-4B9D-8641-BED7D2DB8356}">
      <dgm:prSet/>
      <dgm:spPr/>
      <dgm:t>
        <a:bodyPr/>
        <a:lstStyle/>
        <a:p>
          <a:endParaRPr lang="ru-RU"/>
        </a:p>
      </dgm:t>
    </dgm:pt>
    <dgm:pt modelId="{8CA8B00D-B8AB-43C8-AB43-90B502ADB488}">
      <dgm:prSet phldrT="[Текст]"/>
      <dgm:spPr/>
      <dgm:t>
        <a:bodyPr/>
        <a:lstStyle/>
        <a:p>
          <a:endParaRPr lang="ru-RU" dirty="0"/>
        </a:p>
      </dgm:t>
    </dgm:pt>
    <dgm:pt modelId="{8F958E68-DC91-41C1-926C-EF7417D5276A}" type="parTrans" cxnId="{ED1C2776-CBF7-4260-89B6-3DC3B61C8CEF}">
      <dgm:prSet/>
      <dgm:spPr/>
      <dgm:t>
        <a:bodyPr/>
        <a:lstStyle/>
        <a:p>
          <a:endParaRPr lang="ru-RU"/>
        </a:p>
      </dgm:t>
    </dgm:pt>
    <dgm:pt modelId="{3524EE9B-9AAF-4C10-AB24-7BCC73E7E7D9}" type="sibTrans" cxnId="{ED1C2776-CBF7-4260-89B6-3DC3B61C8CEF}">
      <dgm:prSet/>
      <dgm:spPr/>
      <dgm:t>
        <a:bodyPr/>
        <a:lstStyle/>
        <a:p>
          <a:endParaRPr lang="ru-RU"/>
        </a:p>
      </dgm:t>
    </dgm:pt>
    <dgm:pt modelId="{C2982D41-ABC5-43EA-8847-03C06D24EE01}">
      <dgm:prSet/>
      <dgm:spPr/>
      <dgm:t>
        <a:bodyPr/>
        <a:lstStyle/>
        <a:p>
          <a:endParaRPr lang="ru-RU" dirty="0"/>
        </a:p>
      </dgm:t>
    </dgm:pt>
    <dgm:pt modelId="{354A3C60-FB67-434C-84CA-00AD704F9BF2}" type="parTrans" cxnId="{4647FFCA-B217-431A-ACF9-4B3FC04EF591}">
      <dgm:prSet/>
      <dgm:spPr/>
      <dgm:t>
        <a:bodyPr/>
        <a:lstStyle/>
        <a:p>
          <a:endParaRPr lang="ru-RU"/>
        </a:p>
      </dgm:t>
    </dgm:pt>
    <dgm:pt modelId="{52BD582F-E4CC-4186-A01D-4C1BCF33C0A0}" type="sibTrans" cxnId="{4647FFCA-B217-431A-ACF9-4B3FC04EF591}">
      <dgm:prSet/>
      <dgm:spPr/>
      <dgm:t>
        <a:bodyPr/>
        <a:lstStyle/>
        <a:p>
          <a:endParaRPr lang="ru-RU"/>
        </a:p>
      </dgm:t>
    </dgm:pt>
    <dgm:pt modelId="{AE429CB6-EF25-43C9-80B4-5EFC439F16A1}">
      <dgm:prSet/>
      <dgm:spPr/>
      <dgm:t>
        <a:bodyPr/>
        <a:lstStyle/>
        <a:p>
          <a:endParaRPr lang="ru-RU" dirty="0"/>
        </a:p>
      </dgm:t>
    </dgm:pt>
    <dgm:pt modelId="{3F72E7EE-A73E-45D4-8BCA-4B6395336053}" type="parTrans" cxnId="{0AA5B8E1-5D53-4899-B548-70CFAFA17C95}">
      <dgm:prSet/>
      <dgm:spPr/>
      <dgm:t>
        <a:bodyPr/>
        <a:lstStyle/>
        <a:p>
          <a:endParaRPr lang="ru-RU"/>
        </a:p>
      </dgm:t>
    </dgm:pt>
    <dgm:pt modelId="{EDEA3649-5CA5-4EC4-A9FD-12000271383E}" type="sibTrans" cxnId="{0AA5B8E1-5D53-4899-B548-70CFAFA17C95}">
      <dgm:prSet/>
      <dgm:spPr/>
      <dgm:t>
        <a:bodyPr/>
        <a:lstStyle/>
        <a:p>
          <a:endParaRPr lang="ru-RU"/>
        </a:p>
      </dgm:t>
    </dgm:pt>
    <dgm:pt modelId="{1696631B-8A7E-4270-A433-7442BD47CDDD}">
      <dgm:prSet/>
      <dgm:spPr/>
      <dgm:t>
        <a:bodyPr/>
        <a:lstStyle/>
        <a:p>
          <a:endParaRPr lang="ru-RU" dirty="0"/>
        </a:p>
      </dgm:t>
    </dgm:pt>
    <dgm:pt modelId="{03ADD77C-A193-45F5-A40B-C23B9410EA15}" type="parTrans" cxnId="{37732043-B00A-4A88-9728-9DE9B3326B49}">
      <dgm:prSet/>
      <dgm:spPr/>
      <dgm:t>
        <a:bodyPr/>
        <a:lstStyle/>
        <a:p>
          <a:endParaRPr lang="ru-RU"/>
        </a:p>
      </dgm:t>
    </dgm:pt>
    <dgm:pt modelId="{9C756FF3-0561-4AFF-AB0A-105948B90230}" type="sibTrans" cxnId="{37732043-B00A-4A88-9728-9DE9B3326B49}">
      <dgm:prSet/>
      <dgm:spPr/>
      <dgm:t>
        <a:bodyPr/>
        <a:lstStyle/>
        <a:p>
          <a:endParaRPr lang="ru-RU"/>
        </a:p>
      </dgm:t>
    </dgm:pt>
    <dgm:pt modelId="{80C1C4A1-1DB3-48F9-99CF-E834135FC02E}">
      <dgm:prSet/>
      <dgm:spPr/>
      <dgm:t>
        <a:bodyPr/>
        <a:lstStyle/>
        <a:p>
          <a:endParaRPr lang="ru-RU" dirty="0"/>
        </a:p>
      </dgm:t>
    </dgm:pt>
    <dgm:pt modelId="{EE462CF5-A3F5-44D3-AFC0-A8DBADDCD69A}" type="parTrans" cxnId="{BEA2CCC4-B133-490B-B063-0511962DEE48}">
      <dgm:prSet/>
      <dgm:spPr/>
      <dgm:t>
        <a:bodyPr/>
        <a:lstStyle/>
        <a:p>
          <a:endParaRPr lang="ru-RU"/>
        </a:p>
      </dgm:t>
    </dgm:pt>
    <dgm:pt modelId="{EEFB889D-3E69-457F-A152-F96A79DF40CD}" type="sibTrans" cxnId="{BEA2CCC4-B133-490B-B063-0511962DEE48}">
      <dgm:prSet/>
      <dgm:spPr/>
      <dgm:t>
        <a:bodyPr/>
        <a:lstStyle/>
        <a:p>
          <a:endParaRPr lang="ru-RU"/>
        </a:p>
      </dgm:t>
    </dgm:pt>
    <dgm:pt modelId="{B0FDE2D6-2E86-4A16-A346-D1903648658D}">
      <dgm:prSet/>
      <dgm:spPr/>
      <dgm:t>
        <a:bodyPr/>
        <a:lstStyle/>
        <a:p>
          <a:endParaRPr lang="ru-RU" dirty="0"/>
        </a:p>
      </dgm:t>
    </dgm:pt>
    <dgm:pt modelId="{0369FA91-1124-4D5A-ADDC-285B9F0A0018}" type="parTrans" cxnId="{44C6916A-EF3D-4EA1-8212-1A76115051FD}">
      <dgm:prSet/>
      <dgm:spPr/>
      <dgm:t>
        <a:bodyPr/>
        <a:lstStyle/>
        <a:p>
          <a:endParaRPr lang="ru-RU"/>
        </a:p>
      </dgm:t>
    </dgm:pt>
    <dgm:pt modelId="{E708A68D-2F8E-42D2-BBFA-7025EB7489D8}" type="sibTrans" cxnId="{44C6916A-EF3D-4EA1-8212-1A76115051FD}">
      <dgm:prSet/>
      <dgm:spPr/>
      <dgm:t>
        <a:bodyPr/>
        <a:lstStyle/>
        <a:p>
          <a:endParaRPr lang="ru-RU"/>
        </a:p>
      </dgm:t>
    </dgm:pt>
    <dgm:pt modelId="{626EFE6B-2FE9-47F2-85FF-DDF9565DA53C}">
      <dgm:prSet/>
      <dgm:spPr/>
      <dgm:t>
        <a:bodyPr/>
        <a:lstStyle/>
        <a:p>
          <a:endParaRPr lang="ru-RU" dirty="0"/>
        </a:p>
      </dgm:t>
    </dgm:pt>
    <dgm:pt modelId="{EDBBBB24-5F1D-4B3A-BCE3-6BB47E650678}" type="parTrans" cxnId="{62093FCD-29F8-4421-B703-02BBE15785E2}">
      <dgm:prSet/>
      <dgm:spPr/>
      <dgm:t>
        <a:bodyPr/>
        <a:lstStyle/>
        <a:p>
          <a:endParaRPr lang="ru-RU"/>
        </a:p>
      </dgm:t>
    </dgm:pt>
    <dgm:pt modelId="{19EEE62E-8A48-4AFF-8C7D-BEF436BCED83}" type="sibTrans" cxnId="{62093FCD-29F8-4421-B703-02BBE15785E2}">
      <dgm:prSet/>
      <dgm:spPr/>
      <dgm:t>
        <a:bodyPr/>
        <a:lstStyle/>
        <a:p>
          <a:endParaRPr lang="ru-RU"/>
        </a:p>
      </dgm:t>
    </dgm:pt>
    <dgm:pt modelId="{DF01444A-5575-404E-9456-B57B3A251128}">
      <dgm:prSet/>
      <dgm:spPr/>
      <dgm:t>
        <a:bodyPr/>
        <a:lstStyle/>
        <a:p>
          <a:endParaRPr lang="ru-RU" dirty="0"/>
        </a:p>
      </dgm:t>
    </dgm:pt>
    <dgm:pt modelId="{E44C4E7F-E754-4F19-9376-2BA392F14772}" type="parTrans" cxnId="{845C09C5-5F1D-457C-92AD-39B3CC2EEC57}">
      <dgm:prSet/>
      <dgm:spPr/>
      <dgm:t>
        <a:bodyPr/>
        <a:lstStyle/>
        <a:p>
          <a:endParaRPr lang="ru-RU"/>
        </a:p>
      </dgm:t>
    </dgm:pt>
    <dgm:pt modelId="{7229B576-AD86-41FC-9882-C07994654330}" type="sibTrans" cxnId="{845C09C5-5F1D-457C-92AD-39B3CC2EEC57}">
      <dgm:prSet/>
      <dgm:spPr/>
      <dgm:t>
        <a:bodyPr/>
        <a:lstStyle/>
        <a:p>
          <a:endParaRPr lang="ru-RU"/>
        </a:p>
      </dgm:t>
    </dgm:pt>
    <dgm:pt modelId="{8117C6A6-CF59-4BAB-9AB2-7FFB4239AFAD}">
      <dgm:prSet/>
      <dgm:spPr/>
      <dgm:t>
        <a:bodyPr/>
        <a:lstStyle/>
        <a:p>
          <a:endParaRPr lang="ru-RU" dirty="0"/>
        </a:p>
      </dgm:t>
    </dgm:pt>
    <dgm:pt modelId="{116A7EBB-7C1C-43C7-B1E1-26D95865D46E}" type="parTrans" cxnId="{C4517A36-FD75-461F-9421-79D7D0782EB0}">
      <dgm:prSet/>
      <dgm:spPr/>
      <dgm:t>
        <a:bodyPr/>
        <a:lstStyle/>
        <a:p>
          <a:endParaRPr lang="ru-RU"/>
        </a:p>
      </dgm:t>
    </dgm:pt>
    <dgm:pt modelId="{82605EB6-102F-43C3-99B9-9C7FC6E9BF82}" type="sibTrans" cxnId="{C4517A36-FD75-461F-9421-79D7D0782EB0}">
      <dgm:prSet/>
      <dgm:spPr/>
      <dgm:t>
        <a:bodyPr/>
        <a:lstStyle/>
        <a:p>
          <a:endParaRPr lang="ru-RU"/>
        </a:p>
      </dgm:t>
    </dgm:pt>
    <dgm:pt modelId="{C316D890-373F-41F6-88FF-2EE6AEB93799}" type="pres">
      <dgm:prSet presAssocID="{F6F6041C-E149-422F-8B81-11E7C4B66FCF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F51174F5-4517-490F-9C64-27AFA4A52774}" type="pres">
      <dgm:prSet presAssocID="{58372A09-AD32-4174-BEF6-EC945B1DF202}" presName="horFlow" presStyleCnt="0"/>
      <dgm:spPr/>
    </dgm:pt>
    <dgm:pt modelId="{1A301157-BD22-48B0-8223-6D2C7F051A34}" type="pres">
      <dgm:prSet presAssocID="{58372A09-AD32-4174-BEF6-EC945B1DF202}" presName="bigChev" presStyleLbl="node1" presStyleIdx="0" presStyleCnt="3" custScaleX="170078"/>
      <dgm:spPr/>
      <dgm:t>
        <a:bodyPr/>
        <a:lstStyle/>
        <a:p>
          <a:endParaRPr lang="ru-RU"/>
        </a:p>
      </dgm:t>
    </dgm:pt>
    <dgm:pt modelId="{219CBDDF-4DDD-4BE8-B8BB-92E609706220}" type="pres">
      <dgm:prSet presAssocID="{9FF4305A-D456-44A9-BDBE-59D879F68CBE}" presName="parTrans" presStyleCnt="0"/>
      <dgm:spPr/>
    </dgm:pt>
    <dgm:pt modelId="{7AF38F2B-327F-4031-B469-B240EE0E109E}" type="pres">
      <dgm:prSet presAssocID="{30D69BD9-F0BF-4AFB-9C01-B19FA7D5DC0C}" presName="node" presStyleLbl="alignAccFollowNode1" presStyleIdx="0" presStyleCnt="1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AE71E1-94E8-44A7-94F9-853B356D10E5}" type="pres">
      <dgm:prSet presAssocID="{8533B205-A891-46E3-941F-F8BF1AA0A096}" presName="sibTrans" presStyleCnt="0"/>
      <dgm:spPr/>
    </dgm:pt>
    <dgm:pt modelId="{D5ED88F7-A10F-477E-AA4D-28C58C97DAE0}" type="pres">
      <dgm:prSet presAssocID="{7AC8E7E0-18F3-4565-8283-FFB08D26D26C}" presName="node" presStyleLbl="alignAccFollowNode1" presStyleIdx="1" presStyleCnt="1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4077301-78C7-44AC-A3BB-E10840D5B506}" type="pres">
      <dgm:prSet presAssocID="{FECC97BB-F94C-4416-8D80-6F5CA75F6777}" presName="sibTrans" presStyleCnt="0"/>
      <dgm:spPr/>
    </dgm:pt>
    <dgm:pt modelId="{1BA2DF0F-6606-4F76-9886-AF2B25DBA5BD}" type="pres">
      <dgm:prSet presAssocID="{94D5A721-ABBA-40F7-9E5F-7B44B5604BD3}" presName="node" presStyleLbl="alignAccFollowNode1" presStyleIdx="2" presStyleCnt="1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874AF23-9B06-4870-802B-5D63F79B4A71}" type="pres">
      <dgm:prSet presAssocID="{962A39C7-0884-43E9-AB3D-DBCA26C34856}" presName="sibTrans" presStyleCnt="0"/>
      <dgm:spPr/>
    </dgm:pt>
    <dgm:pt modelId="{813CDFF9-E6D4-48BE-B3D7-6F70E8CEE670}" type="pres">
      <dgm:prSet presAssocID="{8CA8B00D-B8AB-43C8-AB43-90B502ADB488}" presName="node" presStyleLbl="alignAccFollowNode1" presStyleIdx="3" presStyleCnt="1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98F5537-2A5D-4478-B2EE-5928E7A7C6BA}" type="pres">
      <dgm:prSet presAssocID="{58372A09-AD32-4174-BEF6-EC945B1DF202}" presName="vSp" presStyleCnt="0"/>
      <dgm:spPr/>
    </dgm:pt>
    <dgm:pt modelId="{1EEA6560-9524-4A83-A21B-88B2C42D0E56}" type="pres">
      <dgm:prSet presAssocID="{75201A56-3D16-4731-9CDC-CC77B76E0410}" presName="horFlow" presStyleCnt="0"/>
      <dgm:spPr/>
    </dgm:pt>
    <dgm:pt modelId="{1F7BD74B-00DA-499C-BED2-6213CCE0877E}" type="pres">
      <dgm:prSet presAssocID="{75201A56-3D16-4731-9CDC-CC77B76E0410}" presName="bigChev" presStyleLbl="node1" presStyleIdx="1" presStyleCnt="3" custScaleX="168374"/>
      <dgm:spPr/>
      <dgm:t>
        <a:bodyPr/>
        <a:lstStyle/>
        <a:p>
          <a:endParaRPr lang="ru-RU"/>
        </a:p>
      </dgm:t>
    </dgm:pt>
    <dgm:pt modelId="{DAA13248-67A7-4A1E-9215-7CED3849D64D}" type="pres">
      <dgm:prSet presAssocID="{B2A350FC-8161-409A-A33E-2BA8EC0A19A2}" presName="parTrans" presStyleCnt="0"/>
      <dgm:spPr/>
    </dgm:pt>
    <dgm:pt modelId="{97B6BB83-772C-45EE-957A-444ABA53080E}" type="pres">
      <dgm:prSet presAssocID="{1F9BCB08-63C8-4D27-92B6-0E5BB94A7F03}" presName="node" presStyleLbl="alignAccFollowNode1" presStyleIdx="4" presStyleCnt="1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E97C28E-DCFA-4282-929A-F6990036278F}" type="pres">
      <dgm:prSet presAssocID="{CAA49A75-AA4A-4854-8A97-7EEEC85C215A}" presName="sibTrans" presStyleCnt="0"/>
      <dgm:spPr/>
    </dgm:pt>
    <dgm:pt modelId="{6AC26B88-D10C-45F0-8FAE-DEDF0AFAFEF9}" type="pres">
      <dgm:prSet presAssocID="{90670D26-88E5-4D0E-8602-04C2BBBCFB0B}" presName="node" presStyleLbl="alignAccFollowNode1" presStyleIdx="5" presStyleCnt="1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9011841-7AD4-4CC3-8F25-B762D81BAC5D}" type="pres">
      <dgm:prSet presAssocID="{2D21AD76-6152-441B-9C49-2BCDA7DABA72}" presName="sibTrans" presStyleCnt="0"/>
      <dgm:spPr/>
    </dgm:pt>
    <dgm:pt modelId="{644AFB38-687A-4451-BD45-FAA46578AAFB}" type="pres">
      <dgm:prSet presAssocID="{84D55ADF-5A6E-49F7-B9C9-E95E683E2100}" presName="node" presStyleLbl="alignAccFollowNode1" presStyleIdx="6" presStyleCnt="1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5AF6D62-9BB2-478D-B309-21CE4769A6FE}" type="pres">
      <dgm:prSet presAssocID="{5CBEBCCD-863A-44AC-8A1E-69730B5085A6}" presName="sibTrans" presStyleCnt="0"/>
      <dgm:spPr/>
    </dgm:pt>
    <dgm:pt modelId="{2C67A5F9-3C8E-4A0C-9C30-91C497CBB574}" type="pres">
      <dgm:prSet presAssocID="{66498E0B-3B45-4C39-AD49-3D00F314CFE0}" presName="node" presStyleLbl="alignAccFollowNode1" presStyleIdx="7" presStyleCnt="1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094682-6157-4A9E-83E1-D04102905865}" type="pres">
      <dgm:prSet presAssocID="{F15D5267-39A5-4954-86A1-923DAB1C07E6}" presName="sibTrans" presStyleCnt="0"/>
      <dgm:spPr/>
    </dgm:pt>
    <dgm:pt modelId="{82335509-857D-44D1-8E34-1DFEA77D5443}" type="pres">
      <dgm:prSet presAssocID="{AD6F1155-F9D9-4323-ADF9-679490739000}" presName="node" presStyleLbl="alignAccFollowNode1" presStyleIdx="8" presStyleCnt="1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20B87BD-E96E-421E-BF53-7907EBA32EBB}" type="pres">
      <dgm:prSet presAssocID="{75201A56-3D16-4731-9CDC-CC77B76E0410}" presName="vSp" presStyleCnt="0"/>
      <dgm:spPr/>
    </dgm:pt>
    <dgm:pt modelId="{5ECA849B-BEA0-47F3-B0DF-364D2B19936A}" type="pres">
      <dgm:prSet presAssocID="{C3E0BB73-FEB1-4C1B-B3B6-3BC58D2CB91C}" presName="horFlow" presStyleCnt="0"/>
      <dgm:spPr/>
    </dgm:pt>
    <dgm:pt modelId="{98991F29-AE94-4EDB-B148-81CF0D1CB6F3}" type="pres">
      <dgm:prSet presAssocID="{C3E0BB73-FEB1-4C1B-B3B6-3BC58D2CB91C}" presName="bigChev" presStyleLbl="node1" presStyleIdx="2" presStyleCnt="3" custScaleX="170102"/>
      <dgm:spPr/>
      <dgm:t>
        <a:bodyPr/>
        <a:lstStyle/>
        <a:p>
          <a:endParaRPr lang="ru-RU"/>
        </a:p>
      </dgm:t>
    </dgm:pt>
    <dgm:pt modelId="{13F69374-4CEC-4E3B-8949-176F1810E6A0}" type="pres">
      <dgm:prSet presAssocID="{354A3C60-FB67-434C-84CA-00AD704F9BF2}" presName="parTrans" presStyleCnt="0"/>
      <dgm:spPr/>
    </dgm:pt>
    <dgm:pt modelId="{C8E196C0-188D-419D-9977-14B3E2F52041}" type="pres">
      <dgm:prSet presAssocID="{C2982D41-ABC5-43EA-8847-03C06D24EE01}" presName="node" presStyleLbl="alignAccFollowNode1" presStyleIdx="9" presStyleCnt="1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59352B6-719F-4A57-8142-DF921A7C8E49}" type="pres">
      <dgm:prSet presAssocID="{52BD582F-E4CC-4186-A01D-4C1BCF33C0A0}" presName="sibTrans" presStyleCnt="0"/>
      <dgm:spPr/>
    </dgm:pt>
    <dgm:pt modelId="{F9573E0D-E114-4E5B-B225-52EAEE9E105B}" type="pres">
      <dgm:prSet presAssocID="{AE429CB6-EF25-43C9-80B4-5EFC439F16A1}" presName="node" presStyleLbl="alignAccFollowNode1" presStyleIdx="10" presStyleCnt="1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8944F01-1157-4311-99BF-4010072CC432}" type="pres">
      <dgm:prSet presAssocID="{EDEA3649-5CA5-4EC4-A9FD-12000271383E}" presName="sibTrans" presStyleCnt="0"/>
      <dgm:spPr/>
    </dgm:pt>
    <dgm:pt modelId="{50F76FBB-F8BA-401A-AFD1-3D01B7CCE4B5}" type="pres">
      <dgm:prSet presAssocID="{1696631B-8A7E-4270-A433-7442BD47CDDD}" presName="node" presStyleLbl="alignAccFollowNode1" presStyleIdx="11" presStyleCnt="1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4621CB8-CF16-4A44-9F8D-2FD66D6AE00E}" type="pres">
      <dgm:prSet presAssocID="{9C756FF3-0561-4AFF-AB0A-105948B90230}" presName="sibTrans" presStyleCnt="0"/>
      <dgm:spPr/>
    </dgm:pt>
    <dgm:pt modelId="{884D5416-8A3B-49E5-8E64-B1BA4C4AF603}" type="pres">
      <dgm:prSet presAssocID="{80C1C4A1-1DB3-48F9-99CF-E834135FC02E}" presName="node" presStyleLbl="alignAccFollowNode1" presStyleIdx="12" presStyleCnt="1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A91790A-68A0-43FD-85A4-18E98BDC7AB8}" type="pres">
      <dgm:prSet presAssocID="{EEFB889D-3E69-457F-A152-F96A79DF40CD}" presName="sibTrans" presStyleCnt="0"/>
      <dgm:spPr/>
    </dgm:pt>
    <dgm:pt modelId="{24D0B049-FEEB-47B6-84A6-B9829240C7DE}" type="pres">
      <dgm:prSet presAssocID="{B0FDE2D6-2E86-4A16-A346-D1903648658D}" presName="node" presStyleLbl="alignAccFollowNode1" presStyleIdx="13" presStyleCnt="1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435AA2-647E-43CD-B54D-6EF19E53167F}" type="pres">
      <dgm:prSet presAssocID="{E708A68D-2F8E-42D2-BBFA-7025EB7489D8}" presName="sibTrans" presStyleCnt="0"/>
      <dgm:spPr/>
    </dgm:pt>
    <dgm:pt modelId="{6647FD37-50C2-4DF2-9705-6D66B6F0A670}" type="pres">
      <dgm:prSet presAssocID="{626EFE6B-2FE9-47F2-85FF-DDF9565DA53C}" presName="node" presStyleLbl="alignAccFollowNode1" presStyleIdx="14" presStyleCnt="1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39F5344-1F72-4C86-81C8-C709311F62A6}" type="pres">
      <dgm:prSet presAssocID="{19EEE62E-8A48-4AFF-8C7D-BEF436BCED83}" presName="sibTrans" presStyleCnt="0"/>
      <dgm:spPr/>
    </dgm:pt>
    <dgm:pt modelId="{445A9FB5-FEA3-4E50-BF73-CF21480E0DD7}" type="pres">
      <dgm:prSet presAssocID="{DF01444A-5575-404E-9456-B57B3A251128}" presName="node" presStyleLbl="alignAccFollowNode1" presStyleIdx="15" presStyleCnt="1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3FF0FE6-8D8A-4574-93AE-86906827D335}" type="pres">
      <dgm:prSet presAssocID="{7229B576-AD86-41FC-9882-C07994654330}" presName="sibTrans" presStyleCnt="0"/>
      <dgm:spPr/>
    </dgm:pt>
    <dgm:pt modelId="{744919BA-4E58-40A8-B5DB-DFE2F44B4FC5}" type="pres">
      <dgm:prSet presAssocID="{8117C6A6-CF59-4BAB-9AB2-7FFB4239AFAD}" presName="node" presStyleLbl="alignAccFollowNode1" presStyleIdx="16" presStyleCnt="1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302A2F0-8D56-45A4-A6A6-CED5263EC0E5}" type="presOf" srcId="{C2982D41-ABC5-43EA-8847-03C06D24EE01}" destId="{C8E196C0-188D-419D-9977-14B3E2F52041}" srcOrd="0" destOrd="0" presId="urn:microsoft.com/office/officeart/2005/8/layout/lProcess3"/>
    <dgm:cxn modelId="{A0BB4B66-3B0C-491D-B625-6F6632FFDCE4}" type="presOf" srcId="{B0FDE2D6-2E86-4A16-A346-D1903648658D}" destId="{24D0B049-FEEB-47B6-84A6-B9829240C7DE}" srcOrd="0" destOrd="0" presId="urn:microsoft.com/office/officeart/2005/8/layout/lProcess3"/>
    <dgm:cxn modelId="{44C6916A-EF3D-4EA1-8212-1A76115051FD}" srcId="{C3E0BB73-FEB1-4C1B-B3B6-3BC58D2CB91C}" destId="{B0FDE2D6-2E86-4A16-A346-D1903648658D}" srcOrd="4" destOrd="0" parTransId="{0369FA91-1124-4D5A-ADDC-285B9F0A0018}" sibTransId="{E708A68D-2F8E-42D2-BBFA-7025EB7489D8}"/>
    <dgm:cxn modelId="{7B6C910F-EFC1-4405-BD6B-4201F643DACA}" type="presOf" srcId="{626EFE6B-2FE9-47F2-85FF-DDF9565DA53C}" destId="{6647FD37-50C2-4DF2-9705-6D66B6F0A670}" srcOrd="0" destOrd="0" presId="urn:microsoft.com/office/officeart/2005/8/layout/lProcess3"/>
    <dgm:cxn modelId="{D160E75D-3AB7-49E8-9091-17534D8209D9}" type="presOf" srcId="{AE429CB6-EF25-43C9-80B4-5EFC439F16A1}" destId="{F9573E0D-E114-4E5B-B225-52EAEE9E105B}" srcOrd="0" destOrd="0" presId="urn:microsoft.com/office/officeart/2005/8/layout/lProcess3"/>
    <dgm:cxn modelId="{C2C5FDFA-D913-4142-AC61-AFA2432B79EA}" type="presOf" srcId="{94D5A721-ABBA-40F7-9E5F-7B44B5604BD3}" destId="{1BA2DF0F-6606-4F76-9886-AF2B25DBA5BD}" srcOrd="0" destOrd="0" presId="urn:microsoft.com/office/officeart/2005/8/layout/lProcess3"/>
    <dgm:cxn modelId="{ADB3CF5E-8A7E-4E05-B4FB-376B354F4655}" srcId="{F6F6041C-E149-422F-8B81-11E7C4B66FCF}" destId="{C3E0BB73-FEB1-4C1B-B3B6-3BC58D2CB91C}" srcOrd="2" destOrd="0" parTransId="{0718DA73-AC0A-46D7-91CE-78A67432427F}" sibTransId="{A0EF812D-0969-42D7-9333-3B94B019618B}"/>
    <dgm:cxn modelId="{4647FFCA-B217-431A-ACF9-4B3FC04EF591}" srcId="{C3E0BB73-FEB1-4C1B-B3B6-3BC58D2CB91C}" destId="{C2982D41-ABC5-43EA-8847-03C06D24EE01}" srcOrd="0" destOrd="0" parTransId="{354A3C60-FB67-434C-84CA-00AD704F9BF2}" sibTransId="{52BD582F-E4CC-4186-A01D-4C1BCF33C0A0}"/>
    <dgm:cxn modelId="{346DDA27-C091-4DED-A19C-09DE6F044235}" type="presOf" srcId="{8CA8B00D-B8AB-43C8-AB43-90B502ADB488}" destId="{813CDFF9-E6D4-48BE-B3D7-6F70E8CEE670}" srcOrd="0" destOrd="0" presId="urn:microsoft.com/office/officeart/2005/8/layout/lProcess3"/>
    <dgm:cxn modelId="{62093FCD-29F8-4421-B703-02BBE15785E2}" srcId="{C3E0BB73-FEB1-4C1B-B3B6-3BC58D2CB91C}" destId="{626EFE6B-2FE9-47F2-85FF-DDF9565DA53C}" srcOrd="5" destOrd="0" parTransId="{EDBBBB24-5F1D-4B3A-BCE3-6BB47E650678}" sibTransId="{19EEE62E-8A48-4AFF-8C7D-BEF436BCED83}"/>
    <dgm:cxn modelId="{C4517A36-FD75-461F-9421-79D7D0782EB0}" srcId="{C3E0BB73-FEB1-4C1B-B3B6-3BC58D2CB91C}" destId="{8117C6A6-CF59-4BAB-9AB2-7FFB4239AFAD}" srcOrd="7" destOrd="0" parTransId="{116A7EBB-7C1C-43C7-B1E1-26D95865D46E}" sibTransId="{82605EB6-102F-43C3-99B9-9C7FC6E9BF82}"/>
    <dgm:cxn modelId="{8F3A592E-2818-4FA7-9CF0-CAE437F2448F}" type="presOf" srcId="{58372A09-AD32-4174-BEF6-EC945B1DF202}" destId="{1A301157-BD22-48B0-8223-6D2C7F051A34}" srcOrd="0" destOrd="0" presId="urn:microsoft.com/office/officeart/2005/8/layout/lProcess3"/>
    <dgm:cxn modelId="{7B0F83DD-2028-4C4C-B8E4-677A41C98318}" type="presOf" srcId="{C3E0BB73-FEB1-4C1B-B3B6-3BC58D2CB91C}" destId="{98991F29-AE94-4EDB-B148-81CF0D1CB6F3}" srcOrd="0" destOrd="0" presId="urn:microsoft.com/office/officeart/2005/8/layout/lProcess3"/>
    <dgm:cxn modelId="{F0308867-C1C8-4DAB-B2E2-74AB14EDFDE2}" srcId="{F6F6041C-E149-422F-8B81-11E7C4B66FCF}" destId="{75201A56-3D16-4731-9CDC-CC77B76E0410}" srcOrd="1" destOrd="0" parTransId="{E3721E81-581B-41D3-A5F0-C987F7733B35}" sibTransId="{8E3F6F6B-4DF7-4EA6-8F70-31ED994EF809}"/>
    <dgm:cxn modelId="{845C09C5-5F1D-457C-92AD-39B3CC2EEC57}" srcId="{C3E0BB73-FEB1-4C1B-B3B6-3BC58D2CB91C}" destId="{DF01444A-5575-404E-9456-B57B3A251128}" srcOrd="6" destOrd="0" parTransId="{E44C4E7F-E754-4F19-9376-2BA392F14772}" sibTransId="{7229B576-AD86-41FC-9882-C07994654330}"/>
    <dgm:cxn modelId="{1FED10EB-2A12-4982-A5C4-4059D8395961}" type="presOf" srcId="{AD6F1155-F9D9-4323-ADF9-679490739000}" destId="{82335509-857D-44D1-8E34-1DFEA77D5443}" srcOrd="0" destOrd="0" presId="urn:microsoft.com/office/officeart/2005/8/layout/lProcess3"/>
    <dgm:cxn modelId="{8F1A1ABD-3C0E-47E6-A201-411FD9AF7B37}" type="presOf" srcId="{8117C6A6-CF59-4BAB-9AB2-7FFB4239AFAD}" destId="{744919BA-4E58-40A8-B5DB-DFE2F44B4FC5}" srcOrd="0" destOrd="0" presId="urn:microsoft.com/office/officeart/2005/8/layout/lProcess3"/>
    <dgm:cxn modelId="{1ED084ED-7B2A-4765-8A2B-39C1D017C9D4}" type="presOf" srcId="{1696631B-8A7E-4270-A433-7442BD47CDDD}" destId="{50F76FBB-F8BA-401A-AFD1-3D01B7CCE4B5}" srcOrd="0" destOrd="0" presId="urn:microsoft.com/office/officeart/2005/8/layout/lProcess3"/>
    <dgm:cxn modelId="{6CA007A5-475C-409C-A6A8-872F527F141E}" type="presOf" srcId="{75201A56-3D16-4731-9CDC-CC77B76E0410}" destId="{1F7BD74B-00DA-499C-BED2-6213CCE0877E}" srcOrd="0" destOrd="0" presId="urn:microsoft.com/office/officeart/2005/8/layout/lProcess3"/>
    <dgm:cxn modelId="{27CA4C99-E16E-4650-BDA7-703B82AD2F6B}" type="presOf" srcId="{DF01444A-5575-404E-9456-B57B3A251128}" destId="{445A9FB5-FEA3-4E50-BF73-CF21480E0DD7}" srcOrd="0" destOrd="0" presId="urn:microsoft.com/office/officeart/2005/8/layout/lProcess3"/>
    <dgm:cxn modelId="{ED1C2776-CBF7-4260-89B6-3DC3B61C8CEF}" srcId="{58372A09-AD32-4174-BEF6-EC945B1DF202}" destId="{8CA8B00D-B8AB-43C8-AB43-90B502ADB488}" srcOrd="3" destOrd="0" parTransId="{8F958E68-DC91-41C1-926C-EF7417D5276A}" sibTransId="{3524EE9B-9AAF-4C10-AB24-7BCC73E7E7D9}"/>
    <dgm:cxn modelId="{ADA8FBE9-5C51-4ADF-BC6D-B23DA214E3CA}" type="presOf" srcId="{66498E0B-3B45-4C39-AD49-3D00F314CFE0}" destId="{2C67A5F9-3C8E-4A0C-9C30-91C497CBB574}" srcOrd="0" destOrd="0" presId="urn:microsoft.com/office/officeart/2005/8/layout/lProcess3"/>
    <dgm:cxn modelId="{D01B7CE9-F920-4A7B-9D65-B1EF6769476C}" srcId="{75201A56-3D16-4731-9CDC-CC77B76E0410}" destId="{90670D26-88E5-4D0E-8602-04C2BBBCFB0B}" srcOrd="1" destOrd="0" parTransId="{F3D6394B-8DB3-47A5-A385-8F9586E7ABC1}" sibTransId="{2D21AD76-6152-441B-9C49-2BCDA7DABA72}"/>
    <dgm:cxn modelId="{2BFBC10B-7A70-42C3-849D-C2B6CE698DA8}" type="presOf" srcId="{90670D26-88E5-4D0E-8602-04C2BBBCFB0B}" destId="{6AC26B88-D10C-45F0-8FAE-DEDF0AFAFEF9}" srcOrd="0" destOrd="0" presId="urn:microsoft.com/office/officeart/2005/8/layout/lProcess3"/>
    <dgm:cxn modelId="{0A750E08-DA52-4AF8-B900-84D2005014EF}" type="presOf" srcId="{84D55ADF-5A6E-49F7-B9C9-E95E683E2100}" destId="{644AFB38-687A-4451-BD45-FAA46578AAFB}" srcOrd="0" destOrd="0" presId="urn:microsoft.com/office/officeart/2005/8/layout/lProcess3"/>
    <dgm:cxn modelId="{14D9FB90-F409-4A88-B86D-EB46F2489F17}" srcId="{58372A09-AD32-4174-BEF6-EC945B1DF202}" destId="{30D69BD9-F0BF-4AFB-9C01-B19FA7D5DC0C}" srcOrd="0" destOrd="0" parTransId="{9FF4305A-D456-44A9-BDBE-59D879F68CBE}" sibTransId="{8533B205-A891-46E3-941F-F8BF1AA0A096}"/>
    <dgm:cxn modelId="{F289D55E-6D5A-426E-8055-942840BD2593}" srcId="{F6F6041C-E149-422F-8B81-11E7C4B66FCF}" destId="{58372A09-AD32-4174-BEF6-EC945B1DF202}" srcOrd="0" destOrd="0" parTransId="{A464F313-8EC3-42EE-B73F-C1E5D6DB044A}" sibTransId="{C20D6A50-0A4E-423B-89F0-055B60C3DA62}"/>
    <dgm:cxn modelId="{9A10D5CC-CC08-483C-8A14-D6FA5CC0BC86}" srcId="{75201A56-3D16-4731-9CDC-CC77B76E0410}" destId="{66498E0B-3B45-4C39-AD49-3D00F314CFE0}" srcOrd="3" destOrd="0" parTransId="{44A235E8-90AE-4B80-B637-2B3871EF3649}" sibTransId="{F15D5267-39A5-4954-86A1-923DAB1C07E6}"/>
    <dgm:cxn modelId="{0AA5B8E1-5D53-4899-B548-70CFAFA17C95}" srcId="{C3E0BB73-FEB1-4C1B-B3B6-3BC58D2CB91C}" destId="{AE429CB6-EF25-43C9-80B4-5EFC439F16A1}" srcOrd="1" destOrd="0" parTransId="{3F72E7EE-A73E-45D4-8BCA-4B6395336053}" sibTransId="{EDEA3649-5CA5-4EC4-A9FD-12000271383E}"/>
    <dgm:cxn modelId="{438DE75E-BD65-4C70-96C7-B712CC7108DE}" srcId="{58372A09-AD32-4174-BEF6-EC945B1DF202}" destId="{7AC8E7E0-18F3-4565-8283-FFB08D26D26C}" srcOrd="1" destOrd="0" parTransId="{641E07F8-CA12-46E7-882F-6B41FF5C28B1}" sibTransId="{FECC97BB-F94C-4416-8D80-6F5CA75F6777}"/>
    <dgm:cxn modelId="{EBF4AF52-8BAC-41B9-A0CA-9FB15AFA4C2A}" srcId="{75201A56-3D16-4731-9CDC-CC77B76E0410}" destId="{84D55ADF-5A6E-49F7-B9C9-E95E683E2100}" srcOrd="2" destOrd="0" parTransId="{D7BA2E69-B6CF-4316-AA77-3996E0058517}" sibTransId="{5CBEBCCD-863A-44AC-8A1E-69730B5085A6}"/>
    <dgm:cxn modelId="{75D9A1CD-A470-40BD-B561-E04C3DCA3A91}" srcId="{75201A56-3D16-4731-9CDC-CC77B76E0410}" destId="{AD6F1155-F9D9-4323-ADF9-679490739000}" srcOrd="4" destOrd="0" parTransId="{B9F246B0-8713-4840-83D3-58F0A4061481}" sibTransId="{7414B22F-3907-4474-B2B7-ADFB53C79240}"/>
    <dgm:cxn modelId="{37732043-B00A-4A88-9728-9DE9B3326B49}" srcId="{C3E0BB73-FEB1-4C1B-B3B6-3BC58D2CB91C}" destId="{1696631B-8A7E-4270-A433-7442BD47CDDD}" srcOrd="2" destOrd="0" parTransId="{03ADD77C-A193-45F5-A40B-C23B9410EA15}" sibTransId="{9C756FF3-0561-4AFF-AB0A-105948B90230}"/>
    <dgm:cxn modelId="{CB7E3DDB-389A-436D-9757-F8084317B218}" type="presOf" srcId="{F6F6041C-E149-422F-8B81-11E7C4B66FCF}" destId="{C316D890-373F-41F6-88FF-2EE6AEB93799}" srcOrd="0" destOrd="0" presId="urn:microsoft.com/office/officeart/2005/8/layout/lProcess3"/>
    <dgm:cxn modelId="{A7DD2F7F-6F24-4963-A2A7-C23E1CDAEBE7}" srcId="{75201A56-3D16-4731-9CDC-CC77B76E0410}" destId="{1F9BCB08-63C8-4D27-92B6-0E5BB94A7F03}" srcOrd="0" destOrd="0" parTransId="{B2A350FC-8161-409A-A33E-2BA8EC0A19A2}" sibTransId="{CAA49A75-AA4A-4854-8A97-7EEEC85C215A}"/>
    <dgm:cxn modelId="{2D454898-7F89-4CC4-80E4-FE1B54BE38B2}" type="presOf" srcId="{1F9BCB08-63C8-4D27-92B6-0E5BB94A7F03}" destId="{97B6BB83-772C-45EE-957A-444ABA53080E}" srcOrd="0" destOrd="0" presId="urn:microsoft.com/office/officeart/2005/8/layout/lProcess3"/>
    <dgm:cxn modelId="{042DFB4B-9B4F-4B60-A6D8-C8B825840593}" type="presOf" srcId="{30D69BD9-F0BF-4AFB-9C01-B19FA7D5DC0C}" destId="{7AF38F2B-327F-4031-B469-B240EE0E109E}" srcOrd="0" destOrd="0" presId="urn:microsoft.com/office/officeart/2005/8/layout/lProcess3"/>
    <dgm:cxn modelId="{BEA2CCC4-B133-490B-B063-0511962DEE48}" srcId="{C3E0BB73-FEB1-4C1B-B3B6-3BC58D2CB91C}" destId="{80C1C4A1-1DB3-48F9-99CF-E834135FC02E}" srcOrd="3" destOrd="0" parTransId="{EE462CF5-A3F5-44D3-AFC0-A8DBADDCD69A}" sibTransId="{EEFB889D-3E69-457F-A152-F96A79DF40CD}"/>
    <dgm:cxn modelId="{AE28BE8F-12A4-4D95-90DF-7EF780E927EF}" type="presOf" srcId="{7AC8E7E0-18F3-4565-8283-FFB08D26D26C}" destId="{D5ED88F7-A10F-477E-AA4D-28C58C97DAE0}" srcOrd="0" destOrd="0" presId="urn:microsoft.com/office/officeart/2005/8/layout/lProcess3"/>
    <dgm:cxn modelId="{4601F8F9-CCFC-4D3E-BE88-A4E91F1FB73C}" type="presOf" srcId="{80C1C4A1-1DB3-48F9-99CF-E834135FC02E}" destId="{884D5416-8A3B-49E5-8E64-B1BA4C4AF603}" srcOrd="0" destOrd="0" presId="urn:microsoft.com/office/officeart/2005/8/layout/lProcess3"/>
    <dgm:cxn modelId="{6A8C8AE9-229C-4B9D-8641-BED7D2DB8356}" srcId="{58372A09-AD32-4174-BEF6-EC945B1DF202}" destId="{94D5A721-ABBA-40F7-9E5F-7B44B5604BD3}" srcOrd="2" destOrd="0" parTransId="{A6AFD70E-BCF3-4DCC-81B4-0CFF5639D12A}" sibTransId="{962A39C7-0884-43E9-AB3D-DBCA26C34856}"/>
    <dgm:cxn modelId="{FB1F25BC-2E61-4612-8F98-8DAB049AC3BD}" type="presParOf" srcId="{C316D890-373F-41F6-88FF-2EE6AEB93799}" destId="{F51174F5-4517-490F-9C64-27AFA4A52774}" srcOrd="0" destOrd="0" presId="urn:microsoft.com/office/officeart/2005/8/layout/lProcess3"/>
    <dgm:cxn modelId="{B0B78467-8FBE-4CAB-8363-3D6988DEC4C8}" type="presParOf" srcId="{F51174F5-4517-490F-9C64-27AFA4A52774}" destId="{1A301157-BD22-48B0-8223-6D2C7F051A34}" srcOrd="0" destOrd="0" presId="urn:microsoft.com/office/officeart/2005/8/layout/lProcess3"/>
    <dgm:cxn modelId="{BCAE0A0E-DA45-44A5-B128-46DB587C7F7D}" type="presParOf" srcId="{F51174F5-4517-490F-9C64-27AFA4A52774}" destId="{219CBDDF-4DDD-4BE8-B8BB-92E609706220}" srcOrd="1" destOrd="0" presId="urn:microsoft.com/office/officeart/2005/8/layout/lProcess3"/>
    <dgm:cxn modelId="{AA5AA5D6-F4AF-4F2C-8EC0-CCFBE2BB82DA}" type="presParOf" srcId="{F51174F5-4517-490F-9C64-27AFA4A52774}" destId="{7AF38F2B-327F-4031-B469-B240EE0E109E}" srcOrd="2" destOrd="0" presId="urn:microsoft.com/office/officeart/2005/8/layout/lProcess3"/>
    <dgm:cxn modelId="{8B0D50CB-CA5D-456C-9B69-2286266C7B63}" type="presParOf" srcId="{F51174F5-4517-490F-9C64-27AFA4A52774}" destId="{08AE71E1-94E8-44A7-94F9-853B356D10E5}" srcOrd="3" destOrd="0" presId="urn:microsoft.com/office/officeart/2005/8/layout/lProcess3"/>
    <dgm:cxn modelId="{61A80A56-9593-4A3C-8FA0-D8B3A206BF3F}" type="presParOf" srcId="{F51174F5-4517-490F-9C64-27AFA4A52774}" destId="{D5ED88F7-A10F-477E-AA4D-28C58C97DAE0}" srcOrd="4" destOrd="0" presId="urn:microsoft.com/office/officeart/2005/8/layout/lProcess3"/>
    <dgm:cxn modelId="{0B47225A-1FD4-4B11-98D0-BA0B486C286B}" type="presParOf" srcId="{F51174F5-4517-490F-9C64-27AFA4A52774}" destId="{04077301-78C7-44AC-A3BB-E10840D5B506}" srcOrd="5" destOrd="0" presId="urn:microsoft.com/office/officeart/2005/8/layout/lProcess3"/>
    <dgm:cxn modelId="{3FF56114-CDBA-4598-8F4F-06D66B49BE68}" type="presParOf" srcId="{F51174F5-4517-490F-9C64-27AFA4A52774}" destId="{1BA2DF0F-6606-4F76-9886-AF2B25DBA5BD}" srcOrd="6" destOrd="0" presId="urn:microsoft.com/office/officeart/2005/8/layout/lProcess3"/>
    <dgm:cxn modelId="{C0979191-BA0A-438F-9415-41F672CDAF59}" type="presParOf" srcId="{F51174F5-4517-490F-9C64-27AFA4A52774}" destId="{5874AF23-9B06-4870-802B-5D63F79B4A71}" srcOrd="7" destOrd="0" presId="urn:microsoft.com/office/officeart/2005/8/layout/lProcess3"/>
    <dgm:cxn modelId="{97A7F1E4-34B9-4FE6-806D-515520CCD8FD}" type="presParOf" srcId="{F51174F5-4517-490F-9C64-27AFA4A52774}" destId="{813CDFF9-E6D4-48BE-B3D7-6F70E8CEE670}" srcOrd="8" destOrd="0" presId="urn:microsoft.com/office/officeart/2005/8/layout/lProcess3"/>
    <dgm:cxn modelId="{8268BB1F-D0BC-48E2-A0D2-3AD6E47623FC}" type="presParOf" srcId="{C316D890-373F-41F6-88FF-2EE6AEB93799}" destId="{098F5537-2A5D-4478-B2EE-5928E7A7C6BA}" srcOrd="1" destOrd="0" presId="urn:microsoft.com/office/officeart/2005/8/layout/lProcess3"/>
    <dgm:cxn modelId="{CB5876CA-D4C6-49C4-BE32-7DCCB4D3BDE8}" type="presParOf" srcId="{C316D890-373F-41F6-88FF-2EE6AEB93799}" destId="{1EEA6560-9524-4A83-A21B-88B2C42D0E56}" srcOrd="2" destOrd="0" presId="urn:microsoft.com/office/officeart/2005/8/layout/lProcess3"/>
    <dgm:cxn modelId="{65AD904B-A7B7-4DFB-A415-A7F4E8FAE59C}" type="presParOf" srcId="{1EEA6560-9524-4A83-A21B-88B2C42D0E56}" destId="{1F7BD74B-00DA-499C-BED2-6213CCE0877E}" srcOrd="0" destOrd="0" presId="urn:microsoft.com/office/officeart/2005/8/layout/lProcess3"/>
    <dgm:cxn modelId="{8A183656-9379-48CA-B459-D6A942A29459}" type="presParOf" srcId="{1EEA6560-9524-4A83-A21B-88B2C42D0E56}" destId="{DAA13248-67A7-4A1E-9215-7CED3849D64D}" srcOrd="1" destOrd="0" presId="urn:microsoft.com/office/officeart/2005/8/layout/lProcess3"/>
    <dgm:cxn modelId="{B511CEFC-7859-4569-81F9-A820739D3C63}" type="presParOf" srcId="{1EEA6560-9524-4A83-A21B-88B2C42D0E56}" destId="{97B6BB83-772C-45EE-957A-444ABA53080E}" srcOrd="2" destOrd="0" presId="urn:microsoft.com/office/officeart/2005/8/layout/lProcess3"/>
    <dgm:cxn modelId="{5837A8D8-C61F-4516-A5B9-137B376862EA}" type="presParOf" srcId="{1EEA6560-9524-4A83-A21B-88B2C42D0E56}" destId="{0E97C28E-DCFA-4282-929A-F6990036278F}" srcOrd="3" destOrd="0" presId="urn:microsoft.com/office/officeart/2005/8/layout/lProcess3"/>
    <dgm:cxn modelId="{A319FE7D-6E76-402C-BD90-285688DD42FC}" type="presParOf" srcId="{1EEA6560-9524-4A83-A21B-88B2C42D0E56}" destId="{6AC26B88-D10C-45F0-8FAE-DEDF0AFAFEF9}" srcOrd="4" destOrd="0" presId="urn:microsoft.com/office/officeart/2005/8/layout/lProcess3"/>
    <dgm:cxn modelId="{1F90120B-1E28-47C2-BE2B-A6C0CED8FB56}" type="presParOf" srcId="{1EEA6560-9524-4A83-A21B-88B2C42D0E56}" destId="{49011841-7AD4-4CC3-8F25-B762D81BAC5D}" srcOrd="5" destOrd="0" presId="urn:microsoft.com/office/officeart/2005/8/layout/lProcess3"/>
    <dgm:cxn modelId="{66BCA415-E888-43B0-AD07-D68543ACEDFC}" type="presParOf" srcId="{1EEA6560-9524-4A83-A21B-88B2C42D0E56}" destId="{644AFB38-687A-4451-BD45-FAA46578AAFB}" srcOrd="6" destOrd="0" presId="urn:microsoft.com/office/officeart/2005/8/layout/lProcess3"/>
    <dgm:cxn modelId="{E51BD5CB-A529-4E21-817D-0511CA4E5375}" type="presParOf" srcId="{1EEA6560-9524-4A83-A21B-88B2C42D0E56}" destId="{E5AF6D62-9BB2-478D-B309-21CE4769A6FE}" srcOrd="7" destOrd="0" presId="urn:microsoft.com/office/officeart/2005/8/layout/lProcess3"/>
    <dgm:cxn modelId="{A762B46A-A4A5-466A-B247-D1B41E3B9705}" type="presParOf" srcId="{1EEA6560-9524-4A83-A21B-88B2C42D0E56}" destId="{2C67A5F9-3C8E-4A0C-9C30-91C497CBB574}" srcOrd="8" destOrd="0" presId="urn:microsoft.com/office/officeart/2005/8/layout/lProcess3"/>
    <dgm:cxn modelId="{D45E056B-B139-40B7-89BC-23F083BCD22D}" type="presParOf" srcId="{1EEA6560-9524-4A83-A21B-88B2C42D0E56}" destId="{AE094682-6157-4A9E-83E1-D04102905865}" srcOrd="9" destOrd="0" presId="urn:microsoft.com/office/officeart/2005/8/layout/lProcess3"/>
    <dgm:cxn modelId="{5EBDF02C-5100-4855-8812-D62FE54D02C9}" type="presParOf" srcId="{1EEA6560-9524-4A83-A21B-88B2C42D0E56}" destId="{82335509-857D-44D1-8E34-1DFEA77D5443}" srcOrd="10" destOrd="0" presId="urn:microsoft.com/office/officeart/2005/8/layout/lProcess3"/>
    <dgm:cxn modelId="{34F6C1CE-CEA4-4706-BCA2-DC2E3928F528}" type="presParOf" srcId="{C316D890-373F-41F6-88FF-2EE6AEB93799}" destId="{820B87BD-E96E-421E-BF53-7907EBA32EBB}" srcOrd="3" destOrd="0" presId="urn:microsoft.com/office/officeart/2005/8/layout/lProcess3"/>
    <dgm:cxn modelId="{AEE81B15-6171-421C-B589-F39F038918A7}" type="presParOf" srcId="{C316D890-373F-41F6-88FF-2EE6AEB93799}" destId="{5ECA849B-BEA0-47F3-B0DF-364D2B19936A}" srcOrd="4" destOrd="0" presId="urn:microsoft.com/office/officeart/2005/8/layout/lProcess3"/>
    <dgm:cxn modelId="{DCBCD7D2-7560-4372-BFAA-1F5FB849B083}" type="presParOf" srcId="{5ECA849B-BEA0-47F3-B0DF-364D2B19936A}" destId="{98991F29-AE94-4EDB-B148-81CF0D1CB6F3}" srcOrd="0" destOrd="0" presId="urn:microsoft.com/office/officeart/2005/8/layout/lProcess3"/>
    <dgm:cxn modelId="{582134C9-5B29-4FA2-873B-B61D9498D884}" type="presParOf" srcId="{5ECA849B-BEA0-47F3-B0DF-364D2B19936A}" destId="{13F69374-4CEC-4E3B-8949-176F1810E6A0}" srcOrd="1" destOrd="0" presId="urn:microsoft.com/office/officeart/2005/8/layout/lProcess3"/>
    <dgm:cxn modelId="{83FDD2C5-99C2-4FA9-962D-CBB31C4411FC}" type="presParOf" srcId="{5ECA849B-BEA0-47F3-B0DF-364D2B19936A}" destId="{C8E196C0-188D-419D-9977-14B3E2F52041}" srcOrd="2" destOrd="0" presId="urn:microsoft.com/office/officeart/2005/8/layout/lProcess3"/>
    <dgm:cxn modelId="{2A71959A-4C30-4413-B4AD-8B9E44B81EE0}" type="presParOf" srcId="{5ECA849B-BEA0-47F3-B0DF-364D2B19936A}" destId="{459352B6-719F-4A57-8142-DF921A7C8E49}" srcOrd="3" destOrd="0" presId="urn:microsoft.com/office/officeart/2005/8/layout/lProcess3"/>
    <dgm:cxn modelId="{E9D08DA5-1F69-4362-AB94-AB4822597774}" type="presParOf" srcId="{5ECA849B-BEA0-47F3-B0DF-364D2B19936A}" destId="{F9573E0D-E114-4E5B-B225-52EAEE9E105B}" srcOrd="4" destOrd="0" presId="urn:microsoft.com/office/officeart/2005/8/layout/lProcess3"/>
    <dgm:cxn modelId="{B6754148-E610-469F-BE34-EB819DCF8F99}" type="presParOf" srcId="{5ECA849B-BEA0-47F3-B0DF-364D2B19936A}" destId="{68944F01-1157-4311-99BF-4010072CC432}" srcOrd="5" destOrd="0" presId="urn:microsoft.com/office/officeart/2005/8/layout/lProcess3"/>
    <dgm:cxn modelId="{2F0BE6D4-9DD0-4A63-98CD-C63A9A9113F9}" type="presParOf" srcId="{5ECA849B-BEA0-47F3-B0DF-364D2B19936A}" destId="{50F76FBB-F8BA-401A-AFD1-3D01B7CCE4B5}" srcOrd="6" destOrd="0" presId="urn:microsoft.com/office/officeart/2005/8/layout/lProcess3"/>
    <dgm:cxn modelId="{4B6C42C5-9B42-4595-AE07-B943F7FA8BF0}" type="presParOf" srcId="{5ECA849B-BEA0-47F3-B0DF-364D2B19936A}" destId="{24621CB8-CF16-4A44-9F8D-2FD66D6AE00E}" srcOrd="7" destOrd="0" presId="urn:microsoft.com/office/officeart/2005/8/layout/lProcess3"/>
    <dgm:cxn modelId="{456AD865-1466-4546-9DB4-1748C13D0463}" type="presParOf" srcId="{5ECA849B-BEA0-47F3-B0DF-364D2B19936A}" destId="{884D5416-8A3B-49E5-8E64-B1BA4C4AF603}" srcOrd="8" destOrd="0" presId="urn:microsoft.com/office/officeart/2005/8/layout/lProcess3"/>
    <dgm:cxn modelId="{0C6C7D28-18AE-4932-8DBC-9983CE6995E2}" type="presParOf" srcId="{5ECA849B-BEA0-47F3-B0DF-364D2B19936A}" destId="{EA91790A-68A0-43FD-85A4-18E98BDC7AB8}" srcOrd="9" destOrd="0" presId="urn:microsoft.com/office/officeart/2005/8/layout/lProcess3"/>
    <dgm:cxn modelId="{C843EB7A-3398-4EC4-B59E-B520A01B309F}" type="presParOf" srcId="{5ECA849B-BEA0-47F3-B0DF-364D2B19936A}" destId="{24D0B049-FEEB-47B6-84A6-B9829240C7DE}" srcOrd="10" destOrd="0" presId="urn:microsoft.com/office/officeart/2005/8/layout/lProcess3"/>
    <dgm:cxn modelId="{6010C390-775C-4E20-8659-F64F5D63DD32}" type="presParOf" srcId="{5ECA849B-BEA0-47F3-B0DF-364D2B19936A}" destId="{91435AA2-647E-43CD-B54D-6EF19E53167F}" srcOrd="11" destOrd="0" presId="urn:microsoft.com/office/officeart/2005/8/layout/lProcess3"/>
    <dgm:cxn modelId="{CF10424C-2A75-449F-9F80-92D01820505F}" type="presParOf" srcId="{5ECA849B-BEA0-47F3-B0DF-364D2B19936A}" destId="{6647FD37-50C2-4DF2-9705-6D66B6F0A670}" srcOrd="12" destOrd="0" presId="urn:microsoft.com/office/officeart/2005/8/layout/lProcess3"/>
    <dgm:cxn modelId="{462E6C4A-5AE2-48DD-B0EA-7C50DBB3ED91}" type="presParOf" srcId="{5ECA849B-BEA0-47F3-B0DF-364D2B19936A}" destId="{939F5344-1F72-4C86-81C8-C709311F62A6}" srcOrd="13" destOrd="0" presId="urn:microsoft.com/office/officeart/2005/8/layout/lProcess3"/>
    <dgm:cxn modelId="{77C2096F-6027-4226-A7F2-0E34F061DCA8}" type="presParOf" srcId="{5ECA849B-BEA0-47F3-B0DF-364D2B19936A}" destId="{445A9FB5-FEA3-4E50-BF73-CF21480E0DD7}" srcOrd="14" destOrd="0" presId="urn:microsoft.com/office/officeart/2005/8/layout/lProcess3"/>
    <dgm:cxn modelId="{844C3CD3-F306-4FB1-9321-E57321730044}" type="presParOf" srcId="{5ECA849B-BEA0-47F3-B0DF-364D2B19936A}" destId="{A3FF0FE6-8D8A-4574-93AE-86906827D335}" srcOrd="15" destOrd="0" presId="urn:microsoft.com/office/officeart/2005/8/layout/lProcess3"/>
    <dgm:cxn modelId="{A9933323-F22D-4FD2-9F98-52845C943D4A}" type="presParOf" srcId="{5ECA849B-BEA0-47F3-B0DF-364D2B19936A}" destId="{744919BA-4E58-40A8-B5DB-DFE2F44B4FC5}" srcOrd="16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16E6669-E579-4374-8470-1138A85D06FD}" type="doc">
      <dgm:prSet loTypeId="urn:microsoft.com/office/officeart/2005/8/layout/balance1" loCatId="relationship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8251EFD0-284F-4804-A2E4-7759A493640B}">
      <dgm:prSet phldrT="[Текст]"/>
      <dgm:spPr/>
      <dgm:t>
        <a:bodyPr/>
        <a:lstStyle/>
        <a:p>
          <a:r>
            <a:rPr lang="ru-RU" dirty="0" smtClean="0"/>
            <a:t>70</a:t>
          </a:r>
          <a:endParaRPr lang="ru-RU" dirty="0"/>
        </a:p>
      </dgm:t>
    </dgm:pt>
    <dgm:pt modelId="{277B6D07-A38F-4AA7-8EA8-CE20FC33D2E0}" type="sibTrans" cxnId="{15237D99-61D4-4164-8BE5-23C3B95079DB}">
      <dgm:prSet/>
      <dgm:spPr/>
      <dgm:t>
        <a:bodyPr/>
        <a:lstStyle/>
        <a:p>
          <a:endParaRPr lang="ru-RU"/>
        </a:p>
      </dgm:t>
    </dgm:pt>
    <dgm:pt modelId="{25647C04-5B1A-4247-9226-779701E366DB}" type="parTrans" cxnId="{15237D99-61D4-4164-8BE5-23C3B95079DB}">
      <dgm:prSet/>
      <dgm:spPr/>
      <dgm:t>
        <a:bodyPr/>
        <a:lstStyle/>
        <a:p>
          <a:endParaRPr lang="ru-RU"/>
        </a:p>
      </dgm:t>
    </dgm:pt>
    <dgm:pt modelId="{46275BCA-D9FE-4594-AF99-93D744119306}">
      <dgm:prSet phldrT="[Текст]"/>
      <dgm:spPr/>
      <dgm:t>
        <a:bodyPr/>
        <a:lstStyle/>
        <a:p>
          <a:r>
            <a:rPr lang="ru-RU" dirty="0" smtClean="0"/>
            <a:t>30</a:t>
          </a:r>
          <a:endParaRPr lang="ru-RU" dirty="0"/>
        </a:p>
      </dgm:t>
    </dgm:pt>
    <dgm:pt modelId="{E8BCCABF-588E-415A-BFFE-755067F77CCE}" type="sibTrans" cxnId="{00E95178-925C-4B4E-8CFA-0C58B5D7E32A}">
      <dgm:prSet/>
      <dgm:spPr/>
      <dgm:t>
        <a:bodyPr/>
        <a:lstStyle/>
        <a:p>
          <a:endParaRPr lang="ru-RU"/>
        </a:p>
      </dgm:t>
    </dgm:pt>
    <dgm:pt modelId="{260D23DB-43CD-4B4C-9250-BF5325E910E1}" type="parTrans" cxnId="{00E95178-925C-4B4E-8CFA-0C58B5D7E32A}">
      <dgm:prSet/>
      <dgm:spPr/>
      <dgm:t>
        <a:bodyPr/>
        <a:lstStyle/>
        <a:p>
          <a:endParaRPr lang="ru-RU"/>
        </a:p>
      </dgm:t>
    </dgm:pt>
    <dgm:pt modelId="{E4C2F397-8E7D-454A-9316-D4128D140932}">
      <dgm:prSet phldrT="[Текст]"/>
      <dgm:spPr>
        <a:noFill/>
        <a:ln>
          <a:noFill/>
        </a:ln>
      </dgm:spPr>
      <dgm:t>
        <a:bodyPr/>
        <a:lstStyle/>
        <a:p>
          <a:endParaRPr lang="ru-RU" dirty="0"/>
        </a:p>
      </dgm:t>
    </dgm:pt>
    <dgm:pt modelId="{7C4F870F-9C11-46B8-9728-014BDEAE0FEF}" type="parTrans" cxnId="{4C7CDA0D-8E8F-424A-A0FB-34F7D01DBAE3}">
      <dgm:prSet/>
      <dgm:spPr/>
      <dgm:t>
        <a:bodyPr/>
        <a:lstStyle/>
        <a:p>
          <a:endParaRPr lang="ru-RU"/>
        </a:p>
      </dgm:t>
    </dgm:pt>
    <dgm:pt modelId="{EA76B608-4FD3-4E77-8734-C9BD48163F75}" type="sibTrans" cxnId="{4C7CDA0D-8E8F-424A-A0FB-34F7D01DBAE3}">
      <dgm:prSet/>
      <dgm:spPr/>
      <dgm:t>
        <a:bodyPr/>
        <a:lstStyle/>
        <a:p>
          <a:endParaRPr lang="ru-RU"/>
        </a:p>
      </dgm:t>
    </dgm:pt>
    <dgm:pt modelId="{E29503BD-9DD9-4E18-9549-D4B3E7A26F57}" type="pres">
      <dgm:prSet presAssocID="{016E6669-E579-4374-8470-1138A85D06FD}" presName="outerComposite" presStyleCnt="0">
        <dgm:presLayoutVars>
          <dgm:chMax val="2"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E40402E-7EA2-40F7-A339-CED6EEC4F61E}" type="pres">
      <dgm:prSet presAssocID="{016E6669-E579-4374-8470-1138A85D06FD}" presName="dummyMaxCanvas" presStyleCnt="0"/>
      <dgm:spPr/>
    </dgm:pt>
    <dgm:pt modelId="{24073221-0ABF-4B78-9BB1-DC0C7C0E6C77}" type="pres">
      <dgm:prSet presAssocID="{016E6669-E579-4374-8470-1138A85D06FD}" presName="parentComposite" presStyleCnt="0"/>
      <dgm:spPr/>
    </dgm:pt>
    <dgm:pt modelId="{3E751C15-8365-418E-B2F4-B5F6F5649909}" type="pres">
      <dgm:prSet presAssocID="{016E6669-E579-4374-8470-1138A85D06FD}" presName="parent1" presStyleLbl="alignAccFollowNode1" presStyleIdx="0" presStyleCnt="4" custLinFactNeighborX="1074" custLinFactNeighborY="98203">
        <dgm:presLayoutVars>
          <dgm:chMax val="4"/>
        </dgm:presLayoutVars>
      </dgm:prSet>
      <dgm:spPr/>
      <dgm:t>
        <a:bodyPr/>
        <a:lstStyle/>
        <a:p>
          <a:endParaRPr lang="ru-RU"/>
        </a:p>
      </dgm:t>
    </dgm:pt>
    <dgm:pt modelId="{DF63CD7A-3E9B-4721-AF5B-E14B9F92CA8A}" type="pres">
      <dgm:prSet presAssocID="{016E6669-E579-4374-8470-1138A85D06FD}" presName="parent2" presStyleLbl="alignAccFollowNode1" presStyleIdx="1" presStyleCnt="4" custLinFactNeighborX="-1465" custLinFactNeighborY="98203">
        <dgm:presLayoutVars>
          <dgm:chMax val="4"/>
        </dgm:presLayoutVars>
      </dgm:prSet>
      <dgm:spPr/>
      <dgm:t>
        <a:bodyPr/>
        <a:lstStyle/>
        <a:p>
          <a:endParaRPr lang="ru-RU"/>
        </a:p>
      </dgm:t>
    </dgm:pt>
    <dgm:pt modelId="{A907CAA1-D5C9-4CE1-A620-1A3304338898}" type="pres">
      <dgm:prSet presAssocID="{016E6669-E579-4374-8470-1138A85D06FD}" presName="childrenComposite" presStyleCnt="0"/>
      <dgm:spPr/>
    </dgm:pt>
    <dgm:pt modelId="{CE672933-4F3D-4FE1-8E35-C10EC6B96A38}" type="pres">
      <dgm:prSet presAssocID="{016E6669-E579-4374-8470-1138A85D06FD}" presName="dummyMaxCanvas_ChildArea" presStyleCnt="0"/>
      <dgm:spPr/>
    </dgm:pt>
    <dgm:pt modelId="{DC3D3AF6-B57C-4FD9-9199-50369D321569}" type="pres">
      <dgm:prSet presAssocID="{016E6669-E579-4374-8470-1138A85D06FD}" presName="fulcrum" presStyleLbl="alignAccFollowNode1" presStyleIdx="2" presStyleCnt="4"/>
      <dgm:spPr>
        <a:solidFill>
          <a:schemeClr val="tx2">
            <a:lumMod val="75000"/>
            <a:alpha val="90000"/>
          </a:schemeClr>
        </a:solidFill>
      </dgm:spPr>
    </dgm:pt>
    <dgm:pt modelId="{E343269F-FAFD-439A-9C1D-79D716D0FEDE}" type="pres">
      <dgm:prSet presAssocID="{016E6669-E579-4374-8470-1138A85D06FD}" presName="balance_01" presStyleLbl="alignAccFollowNode1" presStyleIdx="3" presStyleCnt="4">
        <dgm:presLayoutVars>
          <dgm:bulletEnabled val="1"/>
        </dgm:presLayoutVars>
      </dgm:prSet>
      <dgm:spPr>
        <a:solidFill>
          <a:schemeClr val="tx2"/>
        </a:solidFill>
      </dgm:spPr>
    </dgm:pt>
    <dgm:pt modelId="{D9D38E3F-8B17-4A73-AC81-C8AA2F6DF968}" type="pres">
      <dgm:prSet presAssocID="{016E6669-E579-4374-8470-1138A85D06FD}" presName="right_01_1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0E95178-925C-4B4E-8CFA-0C58B5D7E32A}" srcId="{016E6669-E579-4374-8470-1138A85D06FD}" destId="{46275BCA-D9FE-4594-AF99-93D744119306}" srcOrd="0" destOrd="0" parTransId="{260D23DB-43CD-4B4C-9250-BF5325E910E1}" sibTransId="{E8BCCABF-588E-415A-BFFE-755067F77CCE}"/>
    <dgm:cxn modelId="{4C7CDA0D-8E8F-424A-A0FB-34F7D01DBAE3}" srcId="{8251EFD0-284F-4804-A2E4-7759A493640B}" destId="{E4C2F397-8E7D-454A-9316-D4128D140932}" srcOrd="0" destOrd="0" parTransId="{7C4F870F-9C11-46B8-9728-014BDEAE0FEF}" sibTransId="{EA76B608-4FD3-4E77-8734-C9BD48163F75}"/>
    <dgm:cxn modelId="{15237D99-61D4-4164-8BE5-23C3B95079DB}" srcId="{016E6669-E579-4374-8470-1138A85D06FD}" destId="{8251EFD0-284F-4804-A2E4-7759A493640B}" srcOrd="1" destOrd="0" parTransId="{25647C04-5B1A-4247-9226-779701E366DB}" sibTransId="{277B6D07-A38F-4AA7-8EA8-CE20FC33D2E0}"/>
    <dgm:cxn modelId="{D126500E-9C1F-4A3C-92EB-29D1ADD292D1}" type="presOf" srcId="{E4C2F397-8E7D-454A-9316-D4128D140932}" destId="{D9D38E3F-8B17-4A73-AC81-C8AA2F6DF968}" srcOrd="0" destOrd="0" presId="urn:microsoft.com/office/officeart/2005/8/layout/balance1"/>
    <dgm:cxn modelId="{2F0A5541-CFFD-4AA6-8BBC-5ACCC9F4C42B}" type="presOf" srcId="{016E6669-E579-4374-8470-1138A85D06FD}" destId="{E29503BD-9DD9-4E18-9549-D4B3E7A26F57}" srcOrd="0" destOrd="0" presId="urn:microsoft.com/office/officeart/2005/8/layout/balance1"/>
    <dgm:cxn modelId="{668944AC-DA19-4DF2-B54A-46BF17FA9FB9}" type="presOf" srcId="{46275BCA-D9FE-4594-AF99-93D744119306}" destId="{3E751C15-8365-418E-B2F4-B5F6F5649909}" srcOrd="0" destOrd="0" presId="urn:microsoft.com/office/officeart/2005/8/layout/balance1"/>
    <dgm:cxn modelId="{6ACD9307-D65F-455A-894C-50679F0D92B1}" type="presOf" srcId="{8251EFD0-284F-4804-A2E4-7759A493640B}" destId="{DF63CD7A-3E9B-4721-AF5B-E14B9F92CA8A}" srcOrd="0" destOrd="0" presId="urn:microsoft.com/office/officeart/2005/8/layout/balance1"/>
    <dgm:cxn modelId="{73B150AF-AEC0-4ECD-B05C-EE4400CD971B}" type="presParOf" srcId="{E29503BD-9DD9-4E18-9549-D4B3E7A26F57}" destId="{AE40402E-7EA2-40F7-A339-CED6EEC4F61E}" srcOrd="0" destOrd="0" presId="urn:microsoft.com/office/officeart/2005/8/layout/balance1"/>
    <dgm:cxn modelId="{7476F5FA-E87E-41A2-A56C-D041BA27D7A1}" type="presParOf" srcId="{E29503BD-9DD9-4E18-9549-D4B3E7A26F57}" destId="{24073221-0ABF-4B78-9BB1-DC0C7C0E6C77}" srcOrd="1" destOrd="0" presId="urn:microsoft.com/office/officeart/2005/8/layout/balance1"/>
    <dgm:cxn modelId="{3507185D-7499-4B94-9A1F-3076CF71F450}" type="presParOf" srcId="{24073221-0ABF-4B78-9BB1-DC0C7C0E6C77}" destId="{3E751C15-8365-418E-B2F4-B5F6F5649909}" srcOrd="0" destOrd="0" presId="urn:microsoft.com/office/officeart/2005/8/layout/balance1"/>
    <dgm:cxn modelId="{C5161DC6-9A54-47C8-8A3C-E588D3A37415}" type="presParOf" srcId="{24073221-0ABF-4B78-9BB1-DC0C7C0E6C77}" destId="{DF63CD7A-3E9B-4721-AF5B-E14B9F92CA8A}" srcOrd="1" destOrd="0" presId="urn:microsoft.com/office/officeart/2005/8/layout/balance1"/>
    <dgm:cxn modelId="{13484D70-BD71-4877-A193-A10C2CBC23AB}" type="presParOf" srcId="{E29503BD-9DD9-4E18-9549-D4B3E7A26F57}" destId="{A907CAA1-D5C9-4CE1-A620-1A3304338898}" srcOrd="2" destOrd="0" presId="urn:microsoft.com/office/officeart/2005/8/layout/balance1"/>
    <dgm:cxn modelId="{0211F1F6-11D1-4CCD-8B20-4EFB63281B35}" type="presParOf" srcId="{A907CAA1-D5C9-4CE1-A620-1A3304338898}" destId="{CE672933-4F3D-4FE1-8E35-C10EC6B96A38}" srcOrd="0" destOrd="0" presId="urn:microsoft.com/office/officeart/2005/8/layout/balance1"/>
    <dgm:cxn modelId="{8CC09AAC-FED7-4935-B055-4768F089B591}" type="presParOf" srcId="{A907CAA1-D5C9-4CE1-A620-1A3304338898}" destId="{DC3D3AF6-B57C-4FD9-9199-50369D321569}" srcOrd="1" destOrd="0" presId="urn:microsoft.com/office/officeart/2005/8/layout/balance1"/>
    <dgm:cxn modelId="{AA686BCC-FD42-4AED-8BFA-87F6046DB9BA}" type="presParOf" srcId="{A907CAA1-D5C9-4CE1-A620-1A3304338898}" destId="{E343269F-FAFD-439A-9C1D-79D716D0FEDE}" srcOrd="2" destOrd="0" presId="urn:microsoft.com/office/officeart/2005/8/layout/balance1"/>
    <dgm:cxn modelId="{AA4C94BD-DB28-4755-81D4-268DA83D7E4C}" type="presParOf" srcId="{A907CAA1-D5C9-4CE1-A620-1A3304338898}" destId="{D9D38E3F-8B17-4A73-AC81-C8AA2F6DF968}" srcOrd="3" destOrd="0" presId="urn:microsoft.com/office/officeart/2005/8/layout/balance1"/>
  </dgm:cxnLst>
  <dgm:bg/>
  <dgm:whole/>
  <dgm:extLst>
    <a:ext uri="http://schemas.microsoft.com/office/drawing/2008/diagram">
      <dsp:dataModelExt xmlns:dsp="http://schemas.microsoft.com/office/drawing/2008/diagram" relId="rId29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556A48E1-BFD7-4425-A4D1-D6DBD72E0437}" type="doc">
      <dgm:prSet loTypeId="urn:microsoft.com/office/officeart/2005/8/layout/vProcess5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ADE39259-637E-4A34-A234-51A6359B2966}">
      <dgm:prSet phldrT="[Текст]" custT="1"/>
      <dgm:spPr/>
      <dgm:t>
        <a:bodyPr/>
        <a:lstStyle/>
        <a:p>
          <a:r>
            <a:rPr lang="ru-RU" sz="2000" dirty="0" smtClean="0"/>
            <a:t>1. Закупка новых транспортных средств на компримированном природном газе;</a:t>
          </a:r>
          <a:endParaRPr lang="ru-RU" sz="2000" dirty="0"/>
        </a:p>
      </dgm:t>
    </dgm:pt>
    <dgm:pt modelId="{4B91581F-C631-4053-86EC-6E7E6C730500}" type="parTrans" cxnId="{263DA454-85C8-407C-BD5F-E59C83052B89}">
      <dgm:prSet/>
      <dgm:spPr/>
      <dgm:t>
        <a:bodyPr/>
        <a:lstStyle/>
        <a:p>
          <a:endParaRPr lang="ru-RU" sz="2000"/>
        </a:p>
      </dgm:t>
    </dgm:pt>
    <dgm:pt modelId="{7930B089-5354-437D-9899-2B0E6D6FE12A}" type="sibTrans" cxnId="{263DA454-85C8-407C-BD5F-E59C83052B89}">
      <dgm:prSet custT="1"/>
      <dgm:spPr/>
      <dgm:t>
        <a:bodyPr/>
        <a:lstStyle/>
        <a:p>
          <a:endParaRPr lang="ru-RU" sz="2800"/>
        </a:p>
      </dgm:t>
    </dgm:pt>
    <dgm:pt modelId="{836AF9DF-9EE8-4700-8DDB-5541F74716F1}">
      <dgm:prSet custT="1"/>
      <dgm:spPr/>
      <dgm:t>
        <a:bodyPr/>
        <a:lstStyle/>
        <a:p>
          <a:r>
            <a:rPr lang="ru-RU" sz="2000" dirty="0" smtClean="0"/>
            <a:t>2. Переоборудование существующих транспортных средств использующих жидкое моторное топливо; </a:t>
          </a:r>
          <a:endParaRPr lang="ru-RU" sz="2000" dirty="0"/>
        </a:p>
      </dgm:t>
    </dgm:pt>
    <dgm:pt modelId="{B82BEACF-CBFF-4AA8-8948-45F999983717}" type="parTrans" cxnId="{BD3414D3-54EA-48F0-A0A8-0911A21712DB}">
      <dgm:prSet/>
      <dgm:spPr/>
      <dgm:t>
        <a:bodyPr/>
        <a:lstStyle/>
        <a:p>
          <a:endParaRPr lang="ru-RU" sz="2000"/>
        </a:p>
      </dgm:t>
    </dgm:pt>
    <dgm:pt modelId="{AAAFE5CA-ED05-4D83-AD1C-B3AC35D87766}" type="sibTrans" cxnId="{BD3414D3-54EA-48F0-A0A8-0911A21712DB}">
      <dgm:prSet custT="1"/>
      <dgm:spPr/>
      <dgm:t>
        <a:bodyPr/>
        <a:lstStyle/>
        <a:p>
          <a:endParaRPr lang="ru-RU" sz="2800"/>
        </a:p>
      </dgm:t>
    </dgm:pt>
    <dgm:pt modelId="{9A9FC74D-630F-4FDE-924C-D480BD7E79E0}">
      <dgm:prSet custT="1"/>
      <dgm:spPr/>
      <dgm:t>
        <a:bodyPr/>
        <a:lstStyle/>
        <a:p>
          <a:r>
            <a:rPr lang="ru-RU" sz="2000" dirty="0" smtClean="0"/>
            <a:t>3. Обучение персонала эксплуатации и обслуживанию транспортных средств на компримированном природном газе;</a:t>
          </a:r>
          <a:endParaRPr lang="ru-RU" sz="2000" dirty="0"/>
        </a:p>
      </dgm:t>
    </dgm:pt>
    <dgm:pt modelId="{6FDB1947-0A1D-4752-9E2B-0BB7880C7C18}" type="parTrans" cxnId="{2623102F-15AB-476E-9F8D-709B4CCBADB8}">
      <dgm:prSet/>
      <dgm:spPr/>
      <dgm:t>
        <a:bodyPr/>
        <a:lstStyle/>
        <a:p>
          <a:endParaRPr lang="ru-RU" sz="2000"/>
        </a:p>
      </dgm:t>
    </dgm:pt>
    <dgm:pt modelId="{945B2E34-14D8-4888-AB1A-6484E4F4699F}" type="sibTrans" cxnId="{2623102F-15AB-476E-9F8D-709B4CCBADB8}">
      <dgm:prSet custT="1"/>
      <dgm:spPr/>
      <dgm:t>
        <a:bodyPr/>
        <a:lstStyle/>
        <a:p>
          <a:endParaRPr lang="ru-RU" sz="2800"/>
        </a:p>
      </dgm:t>
    </dgm:pt>
    <dgm:pt modelId="{DB6F66D1-4B27-4477-87C6-9FB62769C0A4}">
      <dgm:prSet custT="1"/>
      <dgm:spPr/>
      <dgm:t>
        <a:bodyPr/>
        <a:lstStyle/>
        <a:p>
          <a:r>
            <a:rPr lang="ru-RU" sz="1800" dirty="0" smtClean="0"/>
            <a:t>4. Приведение внутренней инфраструктуры организаций к требованиям безопасности, предъявляемым при эксплуатации, ремонте и обслуживании транспортных средств на компримированном природном газе.</a:t>
          </a:r>
          <a:endParaRPr lang="ru-RU" sz="1800" dirty="0"/>
        </a:p>
      </dgm:t>
    </dgm:pt>
    <dgm:pt modelId="{9F7C284A-B51D-4A9A-8867-1ADB9719C84B}" type="parTrans" cxnId="{E44FF2B9-F79B-479C-BE16-DB5015EB83A3}">
      <dgm:prSet/>
      <dgm:spPr/>
      <dgm:t>
        <a:bodyPr/>
        <a:lstStyle/>
        <a:p>
          <a:endParaRPr lang="ru-RU" sz="2000"/>
        </a:p>
      </dgm:t>
    </dgm:pt>
    <dgm:pt modelId="{F2104FDE-154B-4C45-BB3D-1A2DE43B383B}" type="sibTrans" cxnId="{E44FF2B9-F79B-479C-BE16-DB5015EB83A3}">
      <dgm:prSet/>
      <dgm:spPr/>
      <dgm:t>
        <a:bodyPr/>
        <a:lstStyle/>
        <a:p>
          <a:endParaRPr lang="ru-RU" sz="2000"/>
        </a:p>
      </dgm:t>
    </dgm:pt>
    <dgm:pt modelId="{7964BB4A-D24E-4A12-B4B5-2791B40F6FAF}" type="pres">
      <dgm:prSet presAssocID="{556A48E1-BFD7-4425-A4D1-D6DBD72E0437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5A81B09-CBE4-444E-9CD5-E71831ECEFF3}" type="pres">
      <dgm:prSet presAssocID="{556A48E1-BFD7-4425-A4D1-D6DBD72E0437}" presName="dummyMaxCanvas" presStyleCnt="0">
        <dgm:presLayoutVars/>
      </dgm:prSet>
      <dgm:spPr/>
    </dgm:pt>
    <dgm:pt modelId="{848B3EA1-6011-49FE-ABD7-11FCD1FDD1DD}" type="pres">
      <dgm:prSet presAssocID="{556A48E1-BFD7-4425-A4D1-D6DBD72E0437}" presName="FourNodes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B57ECD-E16E-460C-A9F2-799B29A4283C}" type="pres">
      <dgm:prSet presAssocID="{556A48E1-BFD7-4425-A4D1-D6DBD72E0437}" presName="FourNodes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3287A2B-57A6-468B-9DCD-4375144371AB}" type="pres">
      <dgm:prSet presAssocID="{556A48E1-BFD7-4425-A4D1-D6DBD72E0437}" presName="FourNodes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C744834-AC79-4A57-AB22-A6143C2FCB0B}" type="pres">
      <dgm:prSet presAssocID="{556A48E1-BFD7-4425-A4D1-D6DBD72E0437}" presName="FourNodes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ACD7A38-2AA3-41ED-8C72-10FF3A07BB94}" type="pres">
      <dgm:prSet presAssocID="{556A48E1-BFD7-4425-A4D1-D6DBD72E0437}" presName="FourConn_1-2" presStyleLbl="f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3E08DF2-3B69-4D3A-A148-3811A4404B8B}" type="pres">
      <dgm:prSet presAssocID="{556A48E1-BFD7-4425-A4D1-D6DBD72E0437}" presName="FourConn_2-3" presStyleLbl="f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77C56E9-B6E7-4BCD-A30A-CA768BB435EE}" type="pres">
      <dgm:prSet presAssocID="{556A48E1-BFD7-4425-A4D1-D6DBD72E0437}" presName="FourConn_3-4" presStyleLbl="f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85258E5-D2DA-44DD-941D-30B65EF1251D}" type="pres">
      <dgm:prSet presAssocID="{556A48E1-BFD7-4425-A4D1-D6DBD72E0437}" presName="FourNodes_1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CC3A660-9F17-4F95-8A4B-99114CE76DBA}" type="pres">
      <dgm:prSet presAssocID="{556A48E1-BFD7-4425-A4D1-D6DBD72E0437}" presName="FourNodes_2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F334F91-6080-4F91-B1C1-B3DB9BE27241}" type="pres">
      <dgm:prSet presAssocID="{556A48E1-BFD7-4425-A4D1-D6DBD72E0437}" presName="FourNodes_3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303974A-399C-4F60-ADF3-DAEE8420F860}" type="pres">
      <dgm:prSet presAssocID="{556A48E1-BFD7-4425-A4D1-D6DBD72E0437}" presName="FourNodes_4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44FF2B9-F79B-479C-BE16-DB5015EB83A3}" srcId="{556A48E1-BFD7-4425-A4D1-D6DBD72E0437}" destId="{DB6F66D1-4B27-4477-87C6-9FB62769C0A4}" srcOrd="3" destOrd="0" parTransId="{9F7C284A-B51D-4A9A-8867-1ADB9719C84B}" sibTransId="{F2104FDE-154B-4C45-BB3D-1A2DE43B383B}"/>
    <dgm:cxn modelId="{550BF60D-6FDC-41A6-9B68-6D53C6437821}" type="presOf" srcId="{DB6F66D1-4B27-4477-87C6-9FB62769C0A4}" destId="{7303974A-399C-4F60-ADF3-DAEE8420F860}" srcOrd="1" destOrd="0" presId="urn:microsoft.com/office/officeart/2005/8/layout/vProcess5"/>
    <dgm:cxn modelId="{5A05CC72-86E7-4829-AE07-2354E3D05B2F}" type="presOf" srcId="{9A9FC74D-630F-4FDE-924C-D480BD7E79E0}" destId="{2F334F91-6080-4F91-B1C1-B3DB9BE27241}" srcOrd="1" destOrd="0" presId="urn:microsoft.com/office/officeart/2005/8/layout/vProcess5"/>
    <dgm:cxn modelId="{263DA454-85C8-407C-BD5F-E59C83052B89}" srcId="{556A48E1-BFD7-4425-A4D1-D6DBD72E0437}" destId="{ADE39259-637E-4A34-A234-51A6359B2966}" srcOrd="0" destOrd="0" parTransId="{4B91581F-C631-4053-86EC-6E7E6C730500}" sibTransId="{7930B089-5354-437D-9899-2B0E6D6FE12A}"/>
    <dgm:cxn modelId="{BD3414D3-54EA-48F0-A0A8-0911A21712DB}" srcId="{556A48E1-BFD7-4425-A4D1-D6DBD72E0437}" destId="{836AF9DF-9EE8-4700-8DDB-5541F74716F1}" srcOrd="1" destOrd="0" parTransId="{B82BEACF-CBFF-4AA8-8948-45F999983717}" sibTransId="{AAAFE5CA-ED05-4D83-AD1C-B3AC35D87766}"/>
    <dgm:cxn modelId="{11A601C8-EDBF-4666-A122-E0479E623899}" type="presOf" srcId="{7930B089-5354-437D-9899-2B0E6D6FE12A}" destId="{DACD7A38-2AA3-41ED-8C72-10FF3A07BB94}" srcOrd="0" destOrd="0" presId="urn:microsoft.com/office/officeart/2005/8/layout/vProcess5"/>
    <dgm:cxn modelId="{880AFD2C-94A3-4901-B5EA-2001ECC8C3AB}" type="presOf" srcId="{AAAFE5CA-ED05-4D83-AD1C-B3AC35D87766}" destId="{A3E08DF2-3B69-4D3A-A148-3811A4404B8B}" srcOrd="0" destOrd="0" presId="urn:microsoft.com/office/officeart/2005/8/layout/vProcess5"/>
    <dgm:cxn modelId="{FD801339-D69A-4975-8779-6BAF0CCD95C8}" type="presOf" srcId="{DB6F66D1-4B27-4477-87C6-9FB62769C0A4}" destId="{0C744834-AC79-4A57-AB22-A6143C2FCB0B}" srcOrd="0" destOrd="0" presId="urn:microsoft.com/office/officeart/2005/8/layout/vProcess5"/>
    <dgm:cxn modelId="{CDCEA832-53CA-4BA3-BD8A-9726E1991BE0}" type="presOf" srcId="{945B2E34-14D8-4888-AB1A-6484E4F4699F}" destId="{577C56E9-B6E7-4BCD-A30A-CA768BB435EE}" srcOrd="0" destOrd="0" presId="urn:microsoft.com/office/officeart/2005/8/layout/vProcess5"/>
    <dgm:cxn modelId="{F1F058F4-024B-4DA9-8F57-D183956C90BB}" type="presOf" srcId="{9A9FC74D-630F-4FDE-924C-D480BD7E79E0}" destId="{43287A2B-57A6-468B-9DCD-4375144371AB}" srcOrd="0" destOrd="0" presId="urn:microsoft.com/office/officeart/2005/8/layout/vProcess5"/>
    <dgm:cxn modelId="{C6E4B6C0-A529-44EE-85B1-86DF4264FE63}" type="presOf" srcId="{ADE39259-637E-4A34-A234-51A6359B2966}" destId="{F85258E5-D2DA-44DD-941D-30B65EF1251D}" srcOrd="1" destOrd="0" presId="urn:microsoft.com/office/officeart/2005/8/layout/vProcess5"/>
    <dgm:cxn modelId="{D46E9389-72F9-4CD8-B103-25ED56123E47}" type="presOf" srcId="{ADE39259-637E-4A34-A234-51A6359B2966}" destId="{848B3EA1-6011-49FE-ABD7-11FCD1FDD1DD}" srcOrd="0" destOrd="0" presId="urn:microsoft.com/office/officeart/2005/8/layout/vProcess5"/>
    <dgm:cxn modelId="{18E00057-1E71-409A-8537-44AAF2764E55}" type="presOf" srcId="{836AF9DF-9EE8-4700-8DDB-5541F74716F1}" destId="{BCB57ECD-E16E-460C-A9F2-799B29A4283C}" srcOrd="0" destOrd="0" presId="urn:microsoft.com/office/officeart/2005/8/layout/vProcess5"/>
    <dgm:cxn modelId="{B0195281-407F-400A-B8B9-88C08357C07C}" type="presOf" srcId="{556A48E1-BFD7-4425-A4D1-D6DBD72E0437}" destId="{7964BB4A-D24E-4A12-B4B5-2791B40F6FAF}" srcOrd="0" destOrd="0" presId="urn:microsoft.com/office/officeart/2005/8/layout/vProcess5"/>
    <dgm:cxn modelId="{60E7B00B-D380-4A89-82E2-F8A4C18B62D7}" type="presOf" srcId="{836AF9DF-9EE8-4700-8DDB-5541F74716F1}" destId="{5CC3A660-9F17-4F95-8A4B-99114CE76DBA}" srcOrd="1" destOrd="0" presId="urn:microsoft.com/office/officeart/2005/8/layout/vProcess5"/>
    <dgm:cxn modelId="{2623102F-15AB-476E-9F8D-709B4CCBADB8}" srcId="{556A48E1-BFD7-4425-A4D1-D6DBD72E0437}" destId="{9A9FC74D-630F-4FDE-924C-D480BD7E79E0}" srcOrd="2" destOrd="0" parTransId="{6FDB1947-0A1D-4752-9E2B-0BB7880C7C18}" sibTransId="{945B2E34-14D8-4888-AB1A-6484E4F4699F}"/>
    <dgm:cxn modelId="{A9E748A8-DDAD-448E-9FFC-3C0366E1C73D}" type="presParOf" srcId="{7964BB4A-D24E-4A12-B4B5-2791B40F6FAF}" destId="{B5A81B09-CBE4-444E-9CD5-E71831ECEFF3}" srcOrd="0" destOrd="0" presId="urn:microsoft.com/office/officeart/2005/8/layout/vProcess5"/>
    <dgm:cxn modelId="{9D27B213-2CA5-4C6D-96BA-A997DE5B9653}" type="presParOf" srcId="{7964BB4A-D24E-4A12-B4B5-2791B40F6FAF}" destId="{848B3EA1-6011-49FE-ABD7-11FCD1FDD1DD}" srcOrd="1" destOrd="0" presId="urn:microsoft.com/office/officeart/2005/8/layout/vProcess5"/>
    <dgm:cxn modelId="{158E6C21-BDC5-4548-9D28-AA835E36A11F}" type="presParOf" srcId="{7964BB4A-D24E-4A12-B4B5-2791B40F6FAF}" destId="{BCB57ECD-E16E-460C-A9F2-799B29A4283C}" srcOrd="2" destOrd="0" presId="urn:microsoft.com/office/officeart/2005/8/layout/vProcess5"/>
    <dgm:cxn modelId="{A7EA4FE8-C59F-425D-AA46-3EB6B9CCD995}" type="presParOf" srcId="{7964BB4A-D24E-4A12-B4B5-2791B40F6FAF}" destId="{43287A2B-57A6-468B-9DCD-4375144371AB}" srcOrd="3" destOrd="0" presId="urn:microsoft.com/office/officeart/2005/8/layout/vProcess5"/>
    <dgm:cxn modelId="{7DB793FA-BEFF-4F1E-B424-1534D219CE37}" type="presParOf" srcId="{7964BB4A-D24E-4A12-B4B5-2791B40F6FAF}" destId="{0C744834-AC79-4A57-AB22-A6143C2FCB0B}" srcOrd="4" destOrd="0" presId="urn:microsoft.com/office/officeart/2005/8/layout/vProcess5"/>
    <dgm:cxn modelId="{C5973AF9-B170-4124-8452-69A273C7BCA7}" type="presParOf" srcId="{7964BB4A-D24E-4A12-B4B5-2791B40F6FAF}" destId="{DACD7A38-2AA3-41ED-8C72-10FF3A07BB94}" srcOrd="5" destOrd="0" presId="urn:microsoft.com/office/officeart/2005/8/layout/vProcess5"/>
    <dgm:cxn modelId="{12AD2CB0-314C-4CE3-B5F9-E286ECBFE098}" type="presParOf" srcId="{7964BB4A-D24E-4A12-B4B5-2791B40F6FAF}" destId="{A3E08DF2-3B69-4D3A-A148-3811A4404B8B}" srcOrd="6" destOrd="0" presId="urn:microsoft.com/office/officeart/2005/8/layout/vProcess5"/>
    <dgm:cxn modelId="{58712497-4C76-4B42-9671-058536FF3939}" type="presParOf" srcId="{7964BB4A-D24E-4A12-B4B5-2791B40F6FAF}" destId="{577C56E9-B6E7-4BCD-A30A-CA768BB435EE}" srcOrd="7" destOrd="0" presId="urn:microsoft.com/office/officeart/2005/8/layout/vProcess5"/>
    <dgm:cxn modelId="{EF7E3615-71CF-4D2B-A6D4-C0B35D445BBF}" type="presParOf" srcId="{7964BB4A-D24E-4A12-B4B5-2791B40F6FAF}" destId="{F85258E5-D2DA-44DD-941D-30B65EF1251D}" srcOrd="8" destOrd="0" presId="urn:microsoft.com/office/officeart/2005/8/layout/vProcess5"/>
    <dgm:cxn modelId="{B3D7AB55-F247-4D9C-9A38-56524AAD8BC0}" type="presParOf" srcId="{7964BB4A-D24E-4A12-B4B5-2791B40F6FAF}" destId="{5CC3A660-9F17-4F95-8A4B-99114CE76DBA}" srcOrd="9" destOrd="0" presId="urn:microsoft.com/office/officeart/2005/8/layout/vProcess5"/>
    <dgm:cxn modelId="{497FC904-AFD6-4A70-B08E-E1C8D7AC624E}" type="presParOf" srcId="{7964BB4A-D24E-4A12-B4B5-2791B40F6FAF}" destId="{2F334F91-6080-4F91-B1C1-B3DB9BE27241}" srcOrd="10" destOrd="0" presId="urn:microsoft.com/office/officeart/2005/8/layout/vProcess5"/>
    <dgm:cxn modelId="{6F0A11BB-A811-4060-8EB6-D64AA91D971A}" type="presParOf" srcId="{7964BB4A-D24E-4A12-B4B5-2791B40F6FAF}" destId="{7303974A-399C-4F60-ADF3-DAEE8420F860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D2BA70-62F8-4FC5-BBE2-CFD41126A637}">
      <dsp:nvSpPr>
        <dsp:cNvPr id="0" name=""/>
        <dsp:cNvSpPr/>
      </dsp:nvSpPr>
      <dsp:spPr>
        <a:xfrm rot="5400000">
          <a:off x="-138147" y="141539"/>
          <a:ext cx="920981" cy="644687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kern="1200"/>
        </a:p>
      </dsp:txBody>
      <dsp:txXfrm rot="-5400000">
        <a:off x="1" y="325736"/>
        <a:ext cx="644687" cy="276294"/>
      </dsp:txXfrm>
    </dsp:sp>
    <dsp:sp modelId="{02FCC6AC-72FB-47AD-8313-F3C62EB6D6C4}">
      <dsp:nvSpPr>
        <dsp:cNvPr id="0" name=""/>
        <dsp:cNvSpPr/>
      </dsp:nvSpPr>
      <dsp:spPr>
        <a:xfrm rot="5400000">
          <a:off x="4189075" y="-3540995"/>
          <a:ext cx="598638" cy="7687413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/>
            <a:t>увеличение доли ГБА в общем объеме собственных ТС Группы компаний ООО «Газпром межрегионгаз»;</a:t>
          </a:r>
          <a:endParaRPr lang="ru-RU" sz="2000" kern="1200" dirty="0"/>
        </a:p>
      </dsp:txBody>
      <dsp:txXfrm rot="-5400000">
        <a:off x="644688" y="32615"/>
        <a:ext cx="7658190" cy="540192"/>
      </dsp:txXfrm>
    </dsp:sp>
    <dsp:sp modelId="{1842FDEB-BF27-49AE-A9FB-1523DC23C8F1}">
      <dsp:nvSpPr>
        <dsp:cNvPr id="0" name=""/>
        <dsp:cNvSpPr/>
      </dsp:nvSpPr>
      <dsp:spPr>
        <a:xfrm rot="5400000">
          <a:off x="-138147" y="909917"/>
          <a:ext cx="920981" cy="644687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kern="1200" dirty="0"/>
        </a:p>
      </dsp:txBody>
      <dsp:txXfrm rot="-5400000">
        <a:off x="1" y="1094114"/>
        <a:ext cx="644687" cy="276294"/>
      </dsp:txXfrm>
    </dsp:sp>
    <dsp:sp modelId="{82ADA1DC-1E84-482A-8A1C-52FEA4FEFFAB}">
      <dsp:nvSpPr>
        <dsp:cNvPr id="0" name=""/>
        <dsp:cNvSpPr/>
      </dsp:nvSpPr>
      <dsp:spPr>
        <a:xfrm rot="5400000">
          <a:off x="4189075" y="-2772617"/>
          <a:ext cx="598638" cy="7687413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/>
            <a:t>увеличение потребления природного газа; </a:t>
          </a:r>
          <a:endParaRPr lang="ru-RU" sz="2000" kern="1200" dirty="0"/>
        </a:p>
      </dsp:txBody>
      <dsp:txXfrm rot="-5400000">
        <a:off x="644688" y="800993"/>
        <a:ext cx="7658190" cy="540192"/>
      </dsp:txXfrm>
    </dsp:sp>
    <dsp:sp modelId="{D77B046B-15D0-467C-8877-7DECCE663973}">
      <dsp:nvSpPr>
        <dsp:cNvPr id="0" name=""/>
        <dsp:cNvSpPr/>
      </dsp:nvSpPr>
      <dsp:spPr>
        <a:xfrm rot="5400000">
          <a:off x="-138147" y="1678296"/>
          <a:ext cx="920981" cy="644687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kern="1200" dirty="0"/>
        </a:p>
      </dsp:txBody>
      <dsp:txXfrm rot="-5400000">
        <a:off x="1" y="1862493"/>
        <a:ext cx="644687" cy="276294"/>
      </dsp:txXfrm>
    </dsp:sp>
    <dsp:sp modelId="{0CC52C94-2845-41B3-8975-27E6B4E5F41A}">
      <dsp:nvSpPr>
        <dsp:cNvPr id="0" name=""/>
        <dsp:cNvSpPr/>
      </dsp:nvSpPr>
      <dsp:spPr>
        <a:xfrm rot="5400000">
          <a:off x="4189075" y="-2004239"/>
          <a:ext cx="598638" cy="7687413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/>
            <a:t>снижение расходов на топливо; </a:t>
          </a:r>
          <a:endParaRPr lang="ru-RU" sz="2000" kern="1200" dirty="0"/>
        </a:p>
      </dsp:txBody>
      <dsp:txXfrm rot="-5400000">
        <a:off x="644688" y="1569371"/>
        <a:ext cx="7658190" cy="540192"/>
      </dsp:txXfrm>
    </dsp:sp>
    <dsp:sp modelId="{D39CA110-C122-40ED-868D-84B69081C9BD}">
      <dsp:nvSpPr>
        <dsp:cNvPr id="0" name=""/>
        <dsp:cNvSpPr/>
      </dsp:nvSpPr>
      <dsp:spPr>
        <a:xfrm rot="5400000">
          <a:off x="-138147" y="2446674"/>
          <a:ext cx="920981" cy="644687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kern="1200" dirty="0"/>
        </a:p>
      </dsp:txBody>
      <dsp:txXfrm rot="-5400000">
        <a:off x="1" y="2630871"/>
        <a:ext cx="644687" cy="276294"/>
      </dsp:txXfrm>
    </dsp:sp>
    <dsp:sp modelId="{2E45BA4A-B717-40E6-846E-844B025FB0A8}">
      <dsp:nvSpPr>
        <dsp:cNvPr id="0" name=""/>
        <dsp:cNvSpPr/>
      </dsp:nvSpPr>
      <dsp:spPr>
        <a:xfrm rot="5400000">
          <a:off x="4189075" y="-1235860"/>
          <a:ext cx="598638" cy="7687413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/>
            <a:t>сокращение вредных выбросов от автотранспорта в атмосферу.</a:t>
          </a:r>
          <a:endParaRPr lang="ru-RU" sz="2000" kern="1200" dirty="0"/>
        </a:p>
      </dsp:txBody>
      <dsp:txXfrm rot="-5400000">
        <a:off x="644688" y="2337750"/>
        <a:ext cx="7658190" cy="540192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C0A30F-D3EE-4237-B0CE-CECEA0C879D5}">
      <dsp:nvSpPr>
        <dsp:cNvPr id="0" name=""/>
        <dsp:cNvSpPr/>
      </dsp:nvSpPr>
      <dsp:spPr>
        <a:xfrm rot="5400000">
          <a:off x="-141601" y="143910"/>
          <a:ext cx="944011" cy="660807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1</a:t>
          </a:r>
          <a:endParaRPr lang="ru-RU" sz="2400" kern="1200" dirty="0"/>
        </a:p>
      </dsp:txBody>
      <dsp:txXfrm rot="-5400000">
        <a:off x="2" y="332712"/>
        <a:ext cx="660807" cy="283204"/>
      </dsp:txXfrm>
    </dsp:sp>
    <dsp:sp modelId="{6DDF28B9-5F46-45C9-9E6E-A8ACCEB65707}">
      <dsp:nvSpPr>
        <dsp:cNvPr id="0" name=""/>
        <dsp:cNvSpPr/>
      </dsp:nvSpPr>
      <dsp:spPr>
        <a:xfrm rot="5400000">
          <a:off x="4130618" y="-3467502"/>
          <a:ext cx="613930" cy="7553552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/>
            <a:t>горизонт планирования составляет 8,5 лет;</a:t>
          </a:r>
          <a:endParaRPr lang="ru-RU" sz="1600" kern="1200" dirty="0"/>
        </a:p>
      </dsp:txBody>
      <dsp:txXfrm rot="-5400000">
        <a:off x="660807" y="32279"/>
        <a:ext cx="7523582" cy="553990"/>
      </dsp:txXfrm>
    </dsp:sp>
    <dsp:sp modelId="{88F02DB1-820B-4D2A-A676-9310C2D54B52}">
      <dsp:nvSpPr>
        <dsp:cNvPr id="0" name=""/>
        <dsp:cNvSpPr/>
      </dsp:nvSpPr>
      <dsp:spPr>
        <a:xfrm rot="5400000">
          <a:off x="-141601" y="968896"/>
          <a:ext cx="944011" cy="660807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2</a:t>
          </a:r>
          <a:endParaRPr lang="ru-RU" sz="2400" kern="1200" dirty="0"/>
        </a:p>
      </dsp:txBody>
      <dsp:txXfrm rot="-5400000">
        <a:off x="2" y="1157698"/>
        <a:ext cx="660807" cy="283204"/>
      </dsp:txXfrm>
    </dsp:sp>
    <dsp:sp modelId="{F6E56EA0-639D-4B83-AEB8-2ABE2E4F520C}">
      <dsp:nvSpPr>
        <dsp:cNvPr id="0" name=""/>
        <dsp:cNvSpPr/>
      </dsp:nvSpPr>
      <dsp:spPr>
        <a:xfrm rot="5400000">
          <a:off x="4130780" y="-2642677"/>
          <a:ext cx="613607" cy="7553552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/>
            <a:t>шаг расчета – 1 год;</a:t>
          </a:r>
          <a:endParaRPr lang="ru-RU" sz="1600" kern="1200" dirty="0"/>
        </a:p>
      </dsp:txBody>
      <dsp:txXfrm rot="-5400000">
        <a:off x="660808" y="857249"/>
        <a:ext cx="7523598" cy="553699"/>
      </dsp:txXfrm>
    </dsp:sp>
    <dsp:sp modelId="{CD162000-4DA4-4145-9556-EE57EB6B16CE}">
      <dsp:nvSpPr>
        <dsp:cNvPr id="0" name=""/>
        <dsp:cNvSpPr/>
      </dsp:nvSpPr>
      <dsp:spPr>
        <a:xfrm rot="5400000">
          <a:off x="-141601" y="1793882"/>
          <a:ext cx="944011" cy="660807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3</a:t>
          </a:r>
          <a:endParaRPr lang="ru-RU" sz="2400" kern="1200" dirty="0"/>
        </a:p>
      </dsp:txBody>
      <dsp:txXfrm rot="-5400000">
        <a:off x="2" y="1982684"/>
        <a:ext cx="660807" cy="283204"/>
      </dsp:txXfrm>
    </dsp:sp>
    <dsp:sp modelId="{5FBEFE16-3B14-4F93-9432-25A69E680623}">
      <dsp:nvSpPr>
        <dsp:cNvPr id="0" name=""/>
        <dsp:cNvSpPr/>
      </dsp:nvSpPr>
      <dsp:spPr>
        <a:xfrm rot="5400000">
          <a:off x="4130780" y="-1817691"/>
          <a:ext cx="613607" cy="7553552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/>
            <a:t>расчет произведен в российских рублях, в текущих ценах (с учетом индекса потребительских цен, а также индекса дефлятора на капитальные вложения);</a:t>
          </a:r>
          <a:endParaRPr lang="ru-RU" sz="1600" kern="1200" dirty="0"/>
        </a:p>
      </dsp:txBody>
      <dsp:txXfrm rot="-5400000">
        <a:off x="660808" y="1682235"/>
        <a:ext cx="7523598" cy="553699"/>
      </dsp:txXfrm>
    </dsp:sp>
    <dsp:sp modelId="{D3E0907C-1E8C-4A70-914D-B79D72BD6014}">
      <dsp:nvSpPr>
        <dsp:cNvPr id="0" name=""/>
        <dsp:cNvSpPr/>
      </dsp:nvSpPr>
      <dsp:spPr>
        <a:xfrm rot="5400000">
          <a:off x="-141601" y="2618868"/>
          <a:ext cx="944011" cy="660807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4</a:t>
          </a:r>
          <a:endParaRPr lang="ru-RU" sz="2400" kern="1200" dirty="0"/>
        </a:p>
      </dsp:txBody>
      <dsp:txXfrm rot="-5400000">
        <a:off x="2" y="2807670"/>
        <a:ext cx="660807" cy="283204"/>
      </dsp:txXfrm>
    </dsp:sp>
    <dsp:sp modelId="{EDED8E01-958D-434E-B2F7-3678E05478F9}">
      <dsp:nvSpPr>
        <dsp:cNvPr id="0" name=""/>
        <dsp:cNvSpPr/>
      </dsp:nvSpPr>
      <dsp:spPr>
        <a:xfrm rot="5400000">
          <a:off x="4130780" y="-992705"/>
          <a:ext cx="613607" cy="7553552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/>
            <a:t>в расчете учитываются только денежные потоки Организаций, связанные с переводом ТС на КПГ;</a:t>
          </a:r>
          <a:endParaRPr lang="ru-RU" sz="1600" kern="1200" dirty="0"/>
        </a:p>
      </dsp:txBody>
      <dsp:txXfrm rot="-5400000">
        <a:off x="660808" y="2507221"/>
        <a:ext cx="7523598" cy="553699"/>
      </dsp:txXfrm>
    </dsp:sp>
    <dsp:sp modelId="{27F0DAC5-9C07-49FB-B355-BAA12498ACEE}">
      <dsp:nvSpPr>
        <dsp:cNvPr id="0" name=""/>
        <dsp:cNvSpPr/>
      </dsp:nvSpPr>
      <dsp:spPr>
        <a:xfrm rot="5400000">
          <a:off x="-141601" y="3443854"/>
          <a:ext cx="944011" cy="660807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5</a:t>
          </a:r>
          <a:endParaRPr lang="ru-RU" sz="2400" kern="1200" dirty="0"/>
        </a:p>
      </dsp:txBody>
      <dsp:txXfrm rot="-5400000">
        <a:off x="2" y="3632656"/>
        <a:ext cx="660807" cy="283204"/>
      </dsp:txXfrm>
    </dsp:sp>
    <dsp:sp modelId="{5F938481-B3BA-4B5E-A4D8-3E47948F39AA}">
      <dsp:nvSpPr>
        <dsp:cNvPr id="0" name=""/>
        <dsp:cNvSpPr/>
      </dsp:nvSpPr>
      <dsp:spPr>
        <a:xfrm rot="5400000">
          <a:off x="4130780" y="-167719"/>
          <a:ext cx="613607" cy="7553552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/>
            <a:t>расчет осуществлен исходя из предположения о переводе автопарка Организаций на КПГ в соответствии с целевыми показателями по закупке ГБА и переоборудованию существующего в собственности автопарка на КПГ в 2018–2020 годах.</a:t>
          </a:r>
          <a:endParaRPr lang="ru-RU" sz="1600" kern="1200" dirty="0"/>
        </a:p>
      </dsp:txBody>
      <dsp:txXfrm rot="-5400000">
        <a:off x="660808" y="3332207"/>
        <a:ext cx="7523598" cy="553699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E5E8BB-E94B-4062-A2AC-7D1A40070A41}">
      <dsp:nvSpPr>
        <dsp:cNvPr id="0" name=""/>
        <dsp:cNvSpPr/>
      </dsp:nvSpPr>
      <dsp:spPr>
        <a:xfrm>
          <a:off x="820158" y="1497"/>
          <a:ext cx="6487683" cy="538162"/>
        </a:xfrm>
        <a:prstGeom prst="chevron">
          <a:avLst/>
        </a:prstGeom>
        <a:solidFill>
          <a:schemeClr val="accent1"/>
        </a:solidFill>
        <a:ln w="12700" cap="flat" cmpd="sng" algn="ctr">
          <a:solidFill>
            <a:schemeClr val="accent1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  <dsp:txBody>
        <a:bodyPr spcFirstLastPara="0" vert="horz" wrap="square" lIns="24130" tIns="12065" rIns="0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 smtClean="0"/>
            <a:t>расходы на приобретение ГБА</a:t>
          </a:r>
          <a:endParaRPr lang="ru-RU" sz="1900" kern="1200" dirty="0"/>
        </a:p>
      </dsp:txBody>
      <dsp:txXfrm>
        <a:off x="1089239" y="1497"/>
        <a:ext cx="5949521" cy="538162"/>
      </dsp:txXfrm>
    </dsp:sp>
    <dsp:sp modelId="{638ADD03-5BEE-479C-A1B7-96E222CE641B}">
      <dsp:nvSpPr>
        <dsp:cNvPr id="0" name=""/>
        <dsp:cNvSpPr/>
      </dsp:nvSpPr>
      <dsp:spPr>
        <a:xfrm>
          <a:off x="820158" y="615002"/>
          <a:ext cx="6487683" cy="538162"/>
        </a:xfrm>
        <a:prstGeom prst="chevron">
          <a:avLst/>
        </a:prstGeom>
        <a:solidFill>
          <a:schemeClr val="accent2"/>
        </a:solidFill>
        <a:ln w="12700" cap="flat" cmpd="sng" algn="ctr">
          <a:solidFill>
            <a:schemeClr val="accent2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  <dsp:txBody>
        <a:bodyPr spcFirstLastPara="0" vert="horz" wrap="square" lIns="24130" tIns="12065" rIns="0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 smtClean="0"/>
            <a:t>расходы на переоборудование существующего собственного автопарка на КПГ</a:t>
          </a:r>
          <a:endParaRPr lang="ru-RU" sz="1900" kern="1200" dirty="0"/>
        </a:p>
      </dsp:txBody>
      <dsp:txXfrm>
        <a:off x="1089239" y="615002"/>
        <a:ext cx="5949521" cy="538162"/>
      </dsp:txXfrm>
    </dsp:sp>
    <dsp:sp modelId="{FF62FF8B-B8AD-4EC0-A913-A7624E5C2F4B}">
      <dsp:nvSpPr>
        <dsp:cNvPr id="0" name=""/>
        <dsp:cNvSpPr/>
      </dsp:nvSpPr>
      <dsp:spPr>
        <a:xfrm>
          <a:off x="820158" y="1228507"/>
          <a:ext cx="6487683" cy="538162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chemeClr val="accent3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24130" tIns="12065" rIns="0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 smtClean="0"/>
            <a:t>затраты на переоснащение стоянок автотранспорта</a:t>
          </a:r>
          <a:endParaRPr lang="ru-RU" sz="1900" kern="1200" dirty="0"/>
        </a:p>
      </dsp:txBody>
      <dsp:txXfrm>
        <a:off x="1089239" y="1228507"/>
        <a:ext cx="5949521" cy="538162"/>
      </dsp:txXfrm>
    </dsp:sp>
    <dsp:sp modelId="{033307B4-BE26-4AEB-9D8B-CBD91B9771DF}">
      <dsp:nvSpPr>
        <dsp:cNvPr id="0" name=""/>
        <dsp:cNvSpPr/>
      </dsp:nvSpPr>
      <dsp:spPr>
        <a:xfrm>
          <a:off x="820158" y="1842013"/>
          <a:ext cx="6487683" cy="538162"/>
        </a:xfrm>
        <a:prstGeom prst="chevron">
          <a:avLst/>
        </a:prstGeom>
        <a:solidFill>
          <a:schemeClr val="accent4"/>
        </a:solidFill>
        <a:ln w="12700" cap="flat" cmpd="sng" algn="ctr">
          <a:solidFill>
            <a:schemeClr val="accent4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4">
            <a:shade val="50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dsp:style>
      <dsp:txBody>
        <a:bodyPr spcFirstLastPara="0" vert="horz" wrap="square" lIns="24130" tIns="12065" rIns="0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 smtClean="0"/>
            <a:t>затраты на обучение персонала </a:t>
          </a:r>
          <a:endParaRPr lang="ru-RU" sz="1900" kern="1200" dirty="0"/>
        </a:p>
      </dsp:txBody>
      <dsp:txXfrm>
        <a:off x="1089239" y="1842013"/>
        <a:ext cx="5949521" cy="53816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C0A30F-D3EE-4237-B0CE-CECEA0C879D5}">
      <dsp:nvSpPr>
        <dsp:cNvPr id="0" name=""/>
        <dsp:cNvSpPr/>
      </dsp:nvSpPr>
      <dsp:spPr>
        <a:xfrm rot="5400000">
          <a:off x="-147098" y="149916"/>
          <a:ext cx="980658" cy="686460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1</a:t>
          </a:r>
          <a:endParaRPr lang="ru-RU" sz="2000" kern="1200" dirty="0"/>
        </a:p>
      </dsp:txBody>
      <dsp:txXfrm rot="-5400000">
        <a:off x="1" y="346047"/>
        <a:ext cx="686460" cy="294198"/>
      </dsp:txXfrm>
    </dsp:sp>
    <dsp:sp modelId="{6DDF28B9-5F46-45C9-9E6E-A8ACCEB65707}">
      <dsp:nvSpPr>
        <dsp:cNvPr id="0" name=""/>
        <dsp:cNvSpPr/>
      </dsp:nvSpPr>
      <dsp:spPr>
        <a:xfrm rot="5400000">
          <a:off x="4131696" y="-3442417"/>
          <a:ext cx="637427" cy="7527899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900" kern="1200" dirty="0" smtClean="0"/>
            <a:t>прогноз объемов потребления ЖМТ и КПГ осуществлялся согласно нормам, утвержденным Министерством транспорта Российской Федерации </a:t>
          </a:r>
          <a:endParaRPr lang="ru-RU" sz="1900" kern="1200" dirty="0"/>
        </a:p>
      </dsp:txBody>
      <dsp:txXfrm rot="-5400000">
        <a:off x="686461" y="33935"/>
        <a:ext cx="7496782" cy="575193"/>
      </dsp:txXfrm>
    </dsp:sp>
    <dsp:sp modelId="{88F02DB1-820B-4D2A-A676-9310C2D54B52}">
      <dsp:nvSpPr>
        <dsp:cNvPr id="0" name=""/>
        <dsp:cNvSpPr/>
      </dsp:nvSpPr>
      <dsp:spPr>
        <a:xfrm rot="5400000">
          <a:off x="-147098" y="979392"/>
          <a:ext cx="980658" cy="686460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2</a:t>
          </a:r>
          <a:endParaRPr lang="ru-RU" sz="2000" kern="1200" dirty="0"/>
        </a:p>
      </dsp:txBody>
      <dsp:txXfrm rot="-5400000">
        <a:off x="1" y="1175523"/>
        <a:ext cx="686460" cy="294198"/>
      </dsp:txXfrm>
    </dsp:sp>
    <dsp:sp modelId="{F6E56EA0-639D-4B83-AEB8-2ABE2E4F520C}">
      <dsp:nvSpPr>
        <dsp:cNvPr id="0" name=""/>
        <dsp:cNvSpPr/>
      </dsp:nvSpPr>
      <dsp:spPr>
        <a:xfrm rot="5400000">
          <a:off x="4131696" y="-2612942"/>
          <a:ext cx="637427" cy="7527899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900" kern="1200" dirty="0" smtClean="0"/>
            <a:t>соотношением потребления КПГ к ЖМТ считалось 60/40</a:t>
          </a:r>
          <a:endParaRPr lang="ru-RU" sz="1900" kern="1200" dirty="0"/>
        </a:p>
      </dsp:txBody>
      <dsp:txXfrm rot="-5400000">
        <a:off x="686461" y="863410"/>
        <a:ext cx="7496782" cy="575193"/>
      </dsp:txXfrm>
    </dsp:sp>
    <dsp:sp modelId="{CD162000-4DA4-4145-9556-EE57EB6B16CE}">
      <dsp:nvSpPr>
        <dsp:cNvPr id="0" name=""/>
        <dsp:cNvSpPr/>
      </dsp:nvSpPr>
      <dsp:spPr>
        <a:xfrm rot="5400000">
          <a:off x="-147098" y="1808867"/>
          <a:ext cx="980658" cy="686460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3</a:t>
          </a:r>
          <a:endParaRPr lang="ru-RU" sz="2000" kern="1200" dirty="0"/>
        </a:p>
      </dsp:txBody>
      <dsp:txXfrm rot="-5400000">
        <a:off x="1" y="2004998"/>
        <a:ext cx="686460" cy="294198"/>
      </dsp:txXfrm>
    </dsp:sp>
    <dsp:sp modelId="{5FBEFE16-3B14-4F93-9432-25A69E680623}">
      <dsp:nvSpPr>
        <dsp:cNvPr id="0" name=""/>
        <dsp:cNvSpPr/>
      </dsp:nvSpPr>
      <dsp:spPr>
        <a:xfrm rot="5400000">
          <a:off x="4131696" y="-1783467"/>
          <a:ext cx="637427" cy="7527899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900" kern="1200" dirty="0" smtClean="0"/>
            <a:t>объем потребления ЖМТ, замещенного КПГ, принимался равным прогнозному объему потребления КПГ</a:t>
          </a:r>
          <a:endParaRPr lang="ru-RU" sz="1900" kern="1200" dirty="0"/>
        </a:p>
      </dsp:txBody>
      <dsp:txXfrm rot="-5400000">
        <a:off x="686461" y="1692885"/>
        <a:ext cx="7496782" cy="575193"/>
      </dsp:txXfrm>
    </dsp:sp>
    <dsp:sp modelId="{D3E0907C-1E8C-4A70-914D-B79D72BD6014}">
      <dsp:nvSpPr>
        <dsp:cNvPr id="0" name=""/>
        <dsp:cNvSpPr/>
      </dsp:nvSpPr>
      <dsp:spPr>
        <a:xfrm rot="5400000">
          <a:off x="-147098" y="2638342"/>
          <a:ext cx="980658" cy="686460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4</a:t>
          </a:r>
          <a:endParaRPr lang="ru-RU" sz="2000" kern="1200" dirty="0"/>
        </a:p>
      </dsp:txBody>
      <dsp:txXfrm rot="-5400000">
        <a:off x="1" y="2834473"/>
        <a:ext cx="686460" cy="294198"/>
      </dsp:txXfrm>
    </dsp:sp>
    <dsp:sp modelId="{EDED8E01-958D-434E-B2F7-3678E05478F9}">
      <dsp:nvSpPr>
        <dsp:cNvPr id="0" name=""/>
        <dsp:cNvSpPr/>
      </dsp:nvSpPr>
      <dsp:spPr>
        <a:xfrm rot="5400000">
          <a:off x="4131696" y="-953992"/>
          <a:ext cx="637427" cy="7527899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900" kern="1200" dirty="0" smtClean="0"/>
            <a:t>затраты как на ЖМТ, так и на КПГ спрогнозированы на основе данных о стоимости ЖМТ и КПГ в регионах деятельности Организаций</a:t>
          </a:r>
          <a:endParaRPr lang="ru-RU" sz="1900" kern="1200" dirty="0"/>
        </a:p>
      </dsp:txBody>
      <dsp:txXfrm rot="-5400000">
        <a:off x="686461" y="2522360"/>
        <a:ext cx="7496782" cy="575193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662A001-9A9C-4809-8EB9-589EB6E3D020}">
      <dsp:nvSpPr>
        <dsp:cNvPr id="0" name=""/>
        <dsp:cNvSpPr/>
      </dsp:nvSpPr>
      <dsp:spPr>
        <a:xfrm rot="5400000">
          <a:off x="-126945" y="129842"/>
          <a:ext cx="846304" cy="592413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1</a:t>
          </a:r>
          <a:endParaRPr lang="ru-RU" sz="1800" kern="1200" dirty="0"/>
        </a:p>
      </dsp:txBody>
      <dsp:txXfrm rot="-5400000">
        <a:off x="1" y="299104"/>
        <a:ext cx="592413" cy="253891"/>
      </dsp:txXfrm>
    </dsp:sp>
    <dsp:sp modelId="{4C5B587D-59E8-4BA7-9384-1A1D61BF4DAC}">
      <dsp:nvSpPr>
        <dsp:cNvPr id="0" name=""/>
        <dsp:cNvSpPr/>
      </dsp:nvSpPr>
      <dsp:spPr>
        <a:xfrm rot="5400000">
          <a:off x="4585638" y="-3990328"/>
          <a:ext cx="550387" cy="8536837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/>
            <a:t>Уполномоченными органами правления ДЗО принято приоритетным направлением «исполнение Программы»;</a:t>
          </a:r>
          <a:endParaRPr lang="ru-RU" sz="2000" kern="1200" dirty="0"/>
        </a:p>
      </dsp:txBody>
      <dsp:txXfrm rot="-5400000">
        <a:off x="592413" y="29765"/>
        <a:ext cx="8509969" cy="496651"/>
      </dsp:txXfrm>
    </dsp:sp>
    <dsp:sp modelId="{E81E909E-5DFC-4E09-858B-32FBEE62D995}">
      <dsp:nvSpPr>
        <dsp:cNvPr id="0" name=""/>
        <dsp:cNvSpPr/>
      </dsp:nvSpPr>
      <dsp:spPr>
        <a:xfrm rot="5400000">
          <a:off x="-126945" y="877373"/>
          <a:ext cx="846304" cy="592413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2</a:t>
          </a:r>
          <a:endParaRPr lang="ru-RU" sz="1800" kern="1200" dirty="0"/>
        </a:p>
      </dsp:txBody>
      <dsp:txXfrm rot="-5400000">
        <a:off x="1" y="1046635"/>
        <a:ext cx="592413" cy="253891"/>
      </dsp:txXfrm>
    </dsp:sp>
    <dsp:sp modelId="{56E2838E-F3CA-44D9-959C-F06D04745197}">
      <dsp:nvSpPr>
        <dsp:cNvPr id="0" name=""/>
        <dsp:cNvSpPr/>
      </dsp:nvSpPr>
      <dsp:spPr>
        <a:xfrm rot="5400000">
          <a:off x="4585783" y="-3242942"/>
          <a:ext cx="550098" cy="8536837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/>
            <a:t>Корпоративный контроль через формы корпоративной отчетности </a:t>
          </a:r>
          <a:br>
            <a:rPr lang="ru-RU" sz="2000" kern="1200" dirty="0" smtClean="0"/>
          </a:br>
          <a:r>
            <a:rPr lang="ru-RU" sz="2000" kern="1200" dirty="0" smtClean="0"/>
            <a:t>ПАО «Газпром»;</a:t>
          </a:r>
          <a:endParaRPr lang="ru-RU" sz="2000" kern="1200" dirty="0"/>
        </a:p>
      </dsp:txBody>
      <dsp:txXfrm rot="-5400000">
        <a:off x="592414" y="777281"/>
        <a:ext cx="8509983" cy="496390"/>
      </dsp:txXfrm>
    </dsp:sp>
    <dsp:sp modelId="{B259F191-4BE4-4945-8659-AAF2B0116CDD}">
      <dsp:nvSpPr>
        <dsp:cNvPr id="0" name=""/>
        <dsp:cNvSpPr/>
      </dsp:nvSpPr>
      <dsp:spPr>
        <a:xfrm rot="5400000">
          <a:off x="-126945" y="1624904"/>
          <a:ext cx="846304" cy="592413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3</a:t>
          </a:r>
          <a:endParaRPr lang="ru-RU" sz="1800" kern="1200" dirty="0"/>
        </a:p>
      </dsp:txBody>
      <dsp:txXfrm rot="-5400000">
        <a:off x="1" y="1794166"/>
        <a:ext cx="592413" cy="253891"/>
      </dsp:txXfrm>
    </dsp:sp>
    <dsp:sp modelId="{E1CDDA60-B9CA-4B0C-A914-1C6E5303A23B}">
      <dsp:nvSpPr>
        <dsp:cNvPr id="0" name=""/>
        <dsp:cNvSpPr/>
      </dsp:nvSpPr>
      <dsp:spPr>
        <a:xfrm rot="5400000">
          <a:off x="4585783" y="-2495411"/>
          <a:ext cx="550098" cy="8536837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/>
            <a:t>Оценка эффективности деятельности руководителей организаций группы лиц ООО «Газпром </a:t>
          </a:r>
          <a:r>
            <a:rPr lang="ru-RU" sz="2000" kern="1200" dirty="0" err="1" smtClean="0"/>
            <a:t>межрегионгаз</a:t>
          </a:r>
          <a:r>
            <a:rPr lang="ru-RU" sz="2000" kern="1200" dirty="0" smtClean="0"/>
            <a:t>»;</a:t>
          </a:r>
          <a:endParaRPr lang="ru-RU" sz="2000" kern="1200" dirty="0"/>
        </a:p>
      </dsp:txBody>
      <dsp:txXfrm rot="-5400000">
        <a:off x="592414" y="1524812"/>
        <a:ext cx="8509983" cy="496390"/>
      </dsp:txXfrm>
    </dsp:sp>
    <dsp:sp modelId="{E811FFDC-05BE-49C8-B4C1-15B7BA8B53EA}">
      <dsp:nvSpPr>
        <dsp:cNvPr id="0" name=""/>
        <dsp:cNvSpPr/>
      </dsp:nvSpPr>
      <dsp:spPr>
        <a:xfrm rot="5400000">
          <a:off x="-126945" y="2372434"/>
          <a:ext cx="846304" cy="592413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4</a:t>
          </a:r>
          <a:endParaRPr lang="ru-RU" sz="1800" kern="1200" dirty="0"/>
        </a:p>
      </dsp:txBody>
      <dsp:txXfrm rot="-5400000">
        <a:off x="1" y="2541696"/>
        <a:ext cx="592413" cy="253891"/>
      </dsp:txXfrm>
    </dsp:sp>
    <dsp:sp modelId="{2F93D59C-2F55-4F08-B859-5F0E1782003F}">
      <dsp:nvSpPr>
        <dsp:cNvPr id="0" name=""/>
        <dsp:cNvSpPr/>
      </dsp:nvSpPr>
      <dsp:spPr>
        <a:xfrm rot="5400000">
          <a:off x="4585783" y="-1747880"/>
          <a:ext cx="550098" cy="8536837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/>
            <a:t>Утверждение инвестиционных программ организаций группы лиц ООО «Газпром межрегионгаз» с учетом мероприятий Программы;</a:t>
          </a:r>
          <a:endParaRPr lang="ru-RU" sz="2000" kern="1200" dirty="0"/>
        </a:p>
      </dsp:txBody>
      <dsp:txXfrm rot="-5400000">
        <a:off x="592414" y="2272343"/>
        <a:ext cx="8509983" cy="496390"/>
      </dsp:txXfrm>
    </dsp:sp>
    <dsp:sp modelId="{272A1177-6373-49C3-90D8-EDEA7224203B}">
      <dsp:nvSpPr>
        <dsp:cNvPr id="0" name=""/>
        <dsp:cNvSpPr/>
      </dsp:nvSpPr>
      <dsp:spPr>
        <a:xfrm rot="5400000">
          <a:off x="-126945" y="3119965"/>
          <a:ext cx="846304" cy="592413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5</a:t>
          </a:r>
          <a:endParaRPr lang="ru-RU" sz="1800" kern="1200" dirty="0"/>
        </a:p>
      </dsp:txBody>
      <dsp:txXfrm rot="-5400000">
        <a:off x="1" y="3289227"/>
        <a:ext cx="592413" cy="253891"/>
      </dsp:txXfrm>
    </dsp:sp>
    <dsp:sp modelId="{8B040907-B277-4A84-8870-99F28BB954EC}">
      <dsp:nvSpPr>
        <dsp:cNvPr id="0" name=""/>
        <dsp:cNvSpPr/>
      </dsp:nvSpPr>
      <dsp:spPr>
        <a:xfrm rot="5400000">
          <a:off x="4585783" y="-1000350"/>
          <a:ext cx="550098" cy="8536837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/>
            <a:t>Организация взаимодействия с АО «Газпром газомоторное топливо» направленного на расширение существующей газозаправочной инфраструктуры;</a:t>
          </a:r>
          <a:endParaRPr lang="ru-RU" sz="2000" kern="1200" dirty="0"/>
        </a:p>
      </dsp:txBody>
      <dsp:txXfrm rot="-5400000">
        <a:off x="592414" y="3019873"/>
        <a:ext cx="8509983" cy="496390"/>
      </dsp:txXfrm>
    </dsp:sp>
    <dsp:sp modelId="{6CA7E435-2E05-4A88-A84E-3550203D4EAA}">
      <dsp:nvSpPr>
        <dsp:cNvPr id="0" name=""/>
        <dsp:cNvSpPr/>
      </dsp:nvSpPr>
      <dsp:spPr>
        <a:xfrm rot="5400000">
          <a:off x="-126945" y="3867495"/>
          <a:ext cx="846304" cy="592413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6</a:t>
          </a:r>
          <a:endParaRPr lang="ru-RU" sz="1800" kern="1200" dirty="0"/>
        </a:p>
      </dsp:txBody>
      <dsp:txXfrm rot="-5400000">
        <a:off x="1" y="4036757"/>
        <a:ext cx="592413" cy="253891"/>
      </dsp:txXfrm>
    </dsp:sp>
    <dsp:sp modelId="{0B1204D5-2B3B-460B-8916-0795BBBDDA44}">
      <dsp:nvSpPr>
        <dsp:cNvPr id="0" name=""/>
        <dsp:cNvSpPr/>
      </dsp:nvSpPr>
      <dsp:spPr>
        <a:xfrm rot="5400000">
          <a:off x="4585783" y="-252819"/>
          <a:ext cx="550098" cy="8536837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/>
            <a:t>Организация взаимодействия с производителями и поставщиками газобаллонных автомобилей. </a:t>
          </a:r>
          <a:endParaRPr lang="ru-RU" sz="2000" kern="1200" dirty="0"/>
        </a:p>
      </dsp:txBody>
      <dsp:txXfrm rot="-5400000">
        <a:off x="592414" y="3767404"/>
        <a:ext cx="8509983" cy="49639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D5270D-B12E-4A79-893B-08DAEB7B9398}">
      <dsp:nvSpPr>
        <dsp:cNvPr id="0" name=""/>
        <dsp:cNvSpPr/>
      </dsp:nvSpPr>
      <dsp:spPr>
        <a:xfrm>
          <a:off x="-5468781" y="-837445"/>
          <a:ext cx="6512361" cy="6512361"/>
        </a:xfrm>
        <a:prstGeom prst="blockArc">
          <a:avLst>
            <a:gd name="adj1" fmla="val 18900000"/>
            <a:gd name="adj2" fmla="val 2700000"/>
            <a:gd name="adj3" fmla="val 332"/>
          </a:avLst>
        </a:pr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474173-08D1-4346-B0D1-5FD81B36865D}">
      <dsp:nvSpPr>
        <dsp:cNvPr id="0" name=""/>
        <dsp:cNvSpPr/>
      </dsp:nvSpPr>
      <dsp:spPr>
        <a:xfrm>
          <a:off x="671440" y="483747"/>
          <a:ext cx="7389801" cy="967494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7949" tIns="71120" rIns="71120" bIns="7112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dirty="0" smtClean="0"/>
            <a:t>наличие действующих объектов газомоторной инфраструктуры в регионе присутствия </a:t>
          </a:r>
          <a:r>
            <a:rPr lang="ru-RU" sz="2800" kern="1200" dirty="0" smtClean="0"/>
            <a:t>ДЗО;</a:t>
          </a:r>
          <a:endParaRPr lang="ru-RU" sz="2800" kern="1200" dirty="0"/>
        </a:p>
      </dsp:txBody>
      <dsp:txXfrm>
        <a:off x="671440" y="483747"/>
        <a:ext cx="7389801" cy="967494"/>
      </dsp:txXfrm>
    </dsp:sp>
    <dsp:sp modelId="{53E58E4D-35C3-411F-8785-54B73BE818D4}">
      <dsp:nvSpPr>
        <dsp:cNvPr id="0" name=""/>
        <dsp:cNvSpPr/>
      </dsp:nvSpPr>
      <dsp:spPr>
        <a:xfrm>
          <a:off x="66757" y="362810"/>
          <a:ext cx="1209367" cy="1209367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60EB08A-85D4-4004-8E62-D45088D69D8E}">
      <dsp:nvSpPr>
        <dsp:cNvPr id="0" name=""/>
        <dsp:cNvSpPr/>
      </dsp:nvSpPr>
      <dsp:spPr>
        <a:xfrm>
          <a:off x="1023125" y="1934988"/>
          <a:ext cx="7038117" cy="967494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7949" tIns="71120" rIns="71120" bIns="7112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smtClean="0"/>
            <a:t>величина экономии на топливе;</a:t>
          </a:r>
          <a:endParaRPr lang="ru-RU" sz="2800" kern="1200"/>
        </a:p>
      </dsp:txBody>
      <dsp:txXfrm>
        <a:off x="1023125" y="1934988"/>
        <a:ext cx="7038117" cy="967494"/>
      </dsp:txXfrm>
    </dsp:sp>
    <dsp:sp modelId="{388D91A4-DE2B-40B1-910C-AC184860E800}">
      <dsp:nvSpPr>
        <dsp:cNvPr id="0" name=""/>
        <dsp:cNvSpPr/>
      </dsp:nvSpPr>
      <dsp:spPr>
        <a:xfrm>
          <a:off x="418441" y="1814051"/>
          <a:ext cx="1209367" cy="1209367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0D7FC9A-9B80-49BF-B125-43D652E1E136}">
      <dsp:nvSpPr>
        <dsp:cNvPr id="0" name=""/>
        <dsp:cNvSpPr/>
      </dsp:nvSpPr>
      <dsp:spPr>
        <a:xfrm>
          <a:off x="671440" y="3386229"/>
          <a:ext cx="7389801" cy="967494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7949" tIns="71120" rIns="71120" bIns="7112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smtClean="0"/>
            <a:t>сроки окупаемости затрат, связанных с переводом ТС на КПГ.</a:t>
          </a:r>
          <a:endParaRPr lang="ru-RU" sz="2800" kern="1200"/>
        </a:p>
      </dsp:txBody>
      <dsp:txXfrm>
        <a:off x="671440" y="3386229"/>
        <a:ext cx="7389801" cy="967494"/>
      </dsp:txXfrm>
    </dsp:sp>
    <dsp:sp modelId="{BACDD653-6442-49AB-B639-709704423E16}">
      <dsp:nvSpPr>
        <dsp:cNvPr id="0" name=""/>
        <dsp:cNvSpPr/>
      </dsp:nvSpPr>
      <dsp:spPr>
        <a:xfrm>
          <a:off x="66757" y="3265292"/>
          <a:ext cx="1209367" cy="1209367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73C59C-51EB-427E-828D-D79F56105FAA}">
      <dsp:nvSpPr>
        <dsp:cNvPr id="0" name=""/>
        <dsp:cNvSpPr/>
      </dsp:nvSpPr>
      <dsp:spPr>
        <a:xfrm>
          <a:off x="763587" y="2535"/>
          <a:ext cx="1833562" cy="1833562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500" kern="1200" dirty="0" smtClean="0"/>
            <a:t>62 ГРО</a:t>
          </a:r>
          <a:endParaRPr lang="ru-RU" sz="4500" kern="1200" dirty="0"/>
        </a:p>
      </dsp:txBody>
      <dsp:txXfrm>
        <a:off x="1032106" y="271054"/>
        <a:ext cx="1296524" cy="1296524"/>
      </dsp:txXfrm>
    </dsp:sp>
    <dsp:sp modelId="{3EFE2D20-1A15-4634-AA6E-BD2B2E6CDF5B}">
      <dsp:nvSpPr>
        <dsp:cNvPr id="0" name=""/>
        <dsp:cNvSpPr/>
      </dsp:nvSpPr>
      <dsp:spPr>
        <a:xfrm>
          <a:off x="1148635" y="1984983"/>
          <a:ext cx="1063466" cy="1063466"/>
        </a:xfrm>
        <a:prstGeom prst="mathPlus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900" kern="1200"/>
        </a:p>
      </dsp:txBody>
      <dsp:txXfrm>
        <a:off x="1289597" y="2391652"/>
        <a:ext cx="781542" cy="250128"/>
      </dsp:txXfrm>
    </dsp:sp>
    <dsp:sp modelId="{26B1D799-42FD-42C1-9CFC-8789C1C2E547}">
      <dsp:nvSpPr>
        <dsp:cNvPr id="0" name=""/>
        <dsp:cNvSpPr/>
      </dsp:nvSpPr>
      <dsp:spPr>
        <a:xfrm>
          <a:off x="763587" y="3197334"/>
          <a:ext cx="1833562" cy="1833562"/>
        </a:xfrm>
        <a:prstGeom prst="ellips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500" kern="1200" dirty="0" smtClean="0"/>
            <a:t>45 РГК</a:t>
          </a:r>
          <a:endParaRPr lang="ru-RU" sz="4500" kern="1200" dirty="0"/>
        </a:p>
      </dsp:txBody>
      <dsp:txXfrm>
        <a:off x="1032106" y="3465853"/>
        <a:ext cx="1296524" cy="1296524"/>
      </dsp:txXfrm>
    </dsp:sp>
    <dsp:sp modelId="{8F27D31D-C884-4DF1-84FF-B83F99988D75}">
      <dsp:nvSpPr>
        <dsp:cNvPr id="0" name=""/>
        <dsp:cNvSpPr/>
      </dsp:nvSpPr>
      <dsp:spPr>
        <a:xfrm>
          <a:off x="2872184" y="2175673"/>
          <a:ext cx="583072" cy="682085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100" kern="1200"/>
        </a:p>
      </dsp:txBody>
      <dsp:txXfrm>
        <a:off x="2872184" y="2312090"/>
        <a:ext cx="408150" cy="409251"/>
      </dsp:txXfrm>
    </dsp:sp>
    <dsp:sp modelId="{F9CC6B8D-9AB9-40D2-9BDB-2417A5D1BD8D}">
      <dsp:nvSpPr>
        <dsp:cNvPr id="0" name=""/>
        <dsp:cNvSpPr/>
      </dsp:nvSpPr>
      <dsp:spPr>
        <a:xfrm>
          <a:off x="3697287" y="683154"/>
          <a:ext cx="3667124" cy="3667124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3180" tIns="43180" rIns="43180" bIns="4318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400" kern="1200" dirty="0" smtClean="0"/>
            <a:t>107 организаций группы лиц ООО «Газпром межрегионгаз»</a:t>
          </a:r>
          <a:endParaRPr lang="ru-RU" sz="3400" kern="1200" dirty="0"/>
        </a:p>
      </dsp:txBody>
      <dsp:txXfrm>
        <a:off x="4234325" y="1220192"/>
        <a:ext cx="2593048" cy="259304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9B16F7-43D1-4989-8B26-D5092AD9E03A}">
      <dsp:nvSpPr>
        <dsp:cNvPr id="0" name=""/>
        <dsp:cNvSpPr/>
      </dsp:nvSpPr>
      <dsp:spPr>
        <a:xfrm rot="10800000">
          <a:off x="1804062" y="2983"/>
          <a:ext cx="8113829" cy="1278430"/>
        </a:xfrm>
        <a:prstGeom prst="homePlat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3752" tIns="72390" rIns="135128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smtClean="0"/>
            <a:t>недостаточный уровень обеспеченности объектами газомоторной инфраструктуры (в том числе АГНКС, сервисными и дилерскими центрами по обслуживанию ГБА), не позволяющий осуществить оперативный перевод значительной части автопарка на КПГ;</a:t>
          </a:r>
          <a:endParaRPr lang="ru-RU" sz="1900" kern="1200"/>
        </a:p>
      </dsp:txBody>
      <dsp:txXfrm rot="10800000">
        <a:off x="2123669" y="2983"/>
        <a:ext cx="7794222" cy="1278430"/>
      </dsp:txXfrm>
    </dsp:sp>
    <dsp:sp modelId="{079ED8A9-4A6C-4201-AB1D-C220758590A1}">
      <dsp:nvSpPr>
        <dsp:cNvPr id="0" name=""/>
        <dsp:cNvSpPr/>
      </dsp:nvSpPr>
      <dsp:spPr>
        <a:xfrm>
          <a:off x="1111425" y="2983"/>
          <a:ext cx="1278430" cy="1278430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00879BC-184B-4C69-91D1-46CC103C9C9D}">
      <dsp:nvSpPr>
        <dsp:cNvPr id="0" name=""/>
        <dsp:cNvSpPr/>
      </dsp:nvSpPr>
      <dsp:spPr>
        <a:xfrm rot="10800000">
          <a:off x="1804062" y="1663034"/>
          <a:ext cx="8113829" cy="1278430"/>
        </a:xfrm>
        <a:prstGeom prst="homePlat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3752" tIns="72390" rIns="135128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smtClean="0"/>
            <a:t>высокий износ большинства ТС (в структуре автопарка значительную долю занимает техника старше 15 лет), затрудняющий установку ГБО;</a:t>
          </a:r>
          <a:endParaRPr lang="ru-RU" sz="1900" kern="1200"/>
        </a:p>
      </dsp:txBody>
      <dsp:txXfrm rot="10800000">
        <a:off x="2123669" y="1663034"/>
        <a:ext cx="7794222" cy="1278430"/>
      </dsp:txXfrm>
    </dsp:sp>
    <dsp:sp modelId="{45EE41D3-9C54-4DEE-A9E7-47A36F63F94E}">
      <dsp:nvSpPr>
        <dsp:cNvPr id="0" name=""/>
        <dsp:cNvSpPr/>
      </dsp:nvSpPr>
      <dsp:spPr>
        <a:xfrm>
          <a:off x="1111425" y="1663034"/>
          <a:ext cx="1278430" cy="1278430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FECE5F-69DB-48B3-AEB1-2EAB28592982}">
      <dsp:nvSpPr>
        <dsp:cNvPr id="0" name=""/>
        <dsp:cNvSpPr/>
      </dsp:nvSpPr>
      <dsp:spPr>
        <a:xfrm rot="10800000">
          <a:off x="1804062" y="3323086"/>
          <a:ext cx="8113829" cy="1278430"/>
        </a:xfrm>
        <a:prstGeom prst="homePlat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3752" tIns="72390" rIns="135128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smtClean="0"/>
            <a:t>необходимость проведения ряда мероприятий при переводе транспорта на КПГ, в том числе приведение в соответствие с требованиями пожарной безопасности имеющихся стояночных боксов, зданий, сооружений, обучение водителей и т.д.</a:t>
          </a:r>
          <a:endParaRPr lang="ru-RU" sz="1900" kern="1200"/>
        </a:p>
      </dsp:txBody>
      <dsp:txXfrm rot="10800000">
        <a:off x="2123669" y="3323086"/>
        <a:ext cx="7794222" cy="1278430"/>
      </dsp:txXfrm>
    </dsp:sp>
    <dsp:sp modelId="{210325A0-8FCB-44BE-827D-00AE82BE392C}">
      <dsp:nvSpPr>
        <dsp:cNvPr id="0" name=""/>
        <dsp:cNvSpPr/>
      </dsp:nvSpPr>
      <dsp:spPr>
        <a:xfrm>
          <a:off x="1111425" y="3323086"/>
          <a:ext cx="1278430" cy="1278430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662A001-9A9C-4809-8EB9-589EB6E3D020}">
      <dsp:nvSpPr>
        <dsp:cNvPr id="0" name=""/>
        <dsp:cNvSpPr/>
      </dsp:nvSpPr>
      <dsp:spPr>
        <a:xfrm rot="5400000">
          <a:off x="-188587" y="189065"/>
          <a:ext cx="1257251" cy="880075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600" kern="1200" dirty="0" smtClean="0"/>
            <a:t>1</a:t>
          </a:r>
          <a:endParaRPr lang="ru-RU" sz="2600" kern="1200" dirty="0"/>
        </a:p>
      </dsp:txBody>
      <dsp:txXfrm rot="-5400000">
        <a:off x="2" y="440515"/>
        <a:ext cx="880075" cy="377176"/>
      </dsp:txXfrm>
    </dsp:sp>
    <dsp:sp modelId="{4C5B587D-59E8-4BA7-9384-1A1D61BF4DAC}">
      <dsp:nvSpPr>
        <dsp:cNvPr id="0" name=""/>
        <dsp:cNvSpPr/>
      </dsp:nvSpPr>
      <dsp:spPr>
        <a:xfrm rot="5400000">
          <a:off x="4596056" y="-3715502"/>
          <a:ext cx="817213" cy="8249175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/>
            <a:t>транспортные средства, места базирования которых находятся на расстоянии  20км и менее от действующих объектов газозаправочной инфраструктуры </a:t>
          </a:r>
          <a:endParaRPr lang="ru-RU" sz="2000" kern="1200" dirty="0"/>
        </a:p>
      </dsp:txBody>
      <dsp:txXfrm rot="-5400000">
        <a:off x="880076" y="40372"/>
        <a:ext cx="8209282" cy="737427"/>
      </dsp:txXfrm>
    </dsp:sp>
    <dsp:sp modelId="{B259F191-4BE4-4945-8659-AAF2B0116CDD}">
      <dsp:nvSpPr>
        <dsp:cNvPr id="0" name=""/>
        <dsp:cNvSpPr/>
      </dsp:nvSpPr>
      <dsp:spPr>
        <a:xfrm rot="5400000">
          <a:off x="-188587" y="1299580"/>
          <a:ext cx="1257251" cy="880075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600" kern="1200" dirty="0" smtClean="0"/>
            <a:t>2</a:t>
          </a:r>
          <a:endParaRPr lang="ru-RU" sz="2600" kern="1200" dirty="0"/>
        </a:p>
      </dsp:txBody>
      <dsp:txXfrm rot="-5400000">
        <a:off x="2" y="1551030"/>
        <a:ext cx="880075" cy="377176"/>
      </dsp:txXfrm>
    </dsp:sp>
    <dsp:sp modelId="{E1CDDA60-B9CA-4B0C-A914-1C6E5303A23B}">
      <dsp:nvSpPr>
        <dsp:cNvPr id="0" name=""/>
        <dsp:cNvSpPr/>
      </dsp:nvSpPr>
      <dsp:spPr>
        <a:xfrm rot="5400000">
          <a:off x="4596056" y="-2604987"/>
          <a:ext cx="817213" cy="8249175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/>
            <a:t> транспортные средства на бензине подлежат переоборудованию или замене на ТС с ГБО на КПГ;</a:t>
          </a:r>
          <a:endParaRPr lang="ru-RU" sz="2000" kern="1200" dirty="0"/>
        </a:p>
      </dsp:txBody>
      <dsp:txXfrm rot="-5400000">
        <a:off x="880076" y="1150887"/>
        <a:ext cx="8209282" cy="737427"/>
      </dsp:txXfrm>
    </dsp:sp>
    <dsp:sp modelId="{E811FFDC-05BE-49C8-B4C1-15B7BA8B53EA}">
      <dsp:nvSpPr>
        <dsp:cNvPr id="0" name=""/>
        <dsp:cNvSpPr/>
      </dsp:nvSpPr>
      <dsp:spPr>
        <a:xfrm rot="5400000">
          <a:off x="-188587" y="2410095"/>
          <a:ext cx="1257251" cy="880075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600" kern="1200" dirty="0" smtClean="0"/>
            <a:t>3</a:t>
          </a:r>
          <a:endParaRPr lang="ru-RU" sz="2600" kern="1200" dirty="0"/>
        </a:p>
      </dsp:txBody>
      <dsp:txXfrm rot="-5400000">
        <a:off x="2" y="2661545"/>
        <a:ext cx="880075" cy="377176"/>
      </dsp:txXfrm>
    </dsp:sp>
    <dsp:sp modelId="{2F93D59C-2F55-4F08-B859-5F0E1782003F}">
      <dsp:nvSpPr>
        <dsp:cNvPr id="0" name=""/>
        <dsp:cNvSpPr/>
      </dsp:nvSpPr>
      <dsp:spPr>
        <a:xfrm rot="5400000">
          <a:off x="4596056" y="-1494473"/>
          <a:ext cx="817213" cy="8249175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/>
            <a:t>транспортные средства на дизельном топливе и СУГ подлежат замене на ТС с ГБО на КПГ;</a:t>
          </a:r>
          <a:endParaRPr lang="ru-RU" sz="2000" kern="1200" dirty="0"/>
        </a:p>
      </dsp:txBody>
      <dsp:txXfrm rot="-5400000">
        <a:off x="880076" y="2261401"/>
        <a:ext cx="8209282" cy="737427"/>
      </dsp:txXfrm>
    </dsp:sp>
    <dsp:sp modelId="{272A1177-6373-49C3-90D8-EDEA7224203B}">
      <dsp:nvSpPr>
        <dsp:cNvPr id="0" name=""/>
        <dsp:cNvSpPr/>
      </dsp:nvSpPr>
      <dsp:spPr>
        <a:xfrm rot="5400000">
          <a:off x="-188587" y="3520610"/>
          <a:ext cx="1257251" cy="880075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600" kern="1200" dirty="0" smtClean="0"/>
            <a:t>4</a:t>
          </a:r>
          <a:endParaRPr lang="ru-RU" sz="2600" kern="1200" dirty="0"/>
        </a:p>
      </dsp:txBody>
      <dsp:txXfrm rot="-5400000">
        <a:off x="2" y="3772060"/>
        <a:ext cx="880075" cy="377176"/>
      </dsp:txXfrm>
    </dsp:sp>
    <dsp:sp modelId="{8B040907-B277-4A84-8870-99F28BB954EC}">
      <dsp:nvSpPr>
        <dsp:cNvPr id="0" name=""/>
        <dsp:cNvSpPr/>
      </dsp:nvSpPr>
      <dsp:spPr>
        <a:xfrm rot="5400000">
          <a:off x="4596056" y="-383958"/>
          <a:ext cx="817213" cy="8249175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>
              <a:solidFill>
                <a:srgbClr val="C00000"/>
              </a:solidFill>
            </a:rPr>
            <a:t>не подлежат </a:t>
          </a:r>
          <a:r>
            <a:rPr lang="ru-RU" sz="2000" kern="1200" dirty="0" smtClean="0"/>
            <a:t>переводу транспортные средства марки </a:t>
          </a:r>
          <a:r>
            <a:rPr lang="en-US" sz="2000" kern="1200" dirty="0" smtClean="0"/>
            <a:t>Mercedes</a:t>
          </a:r>
          <a:r>
            <a:rPr lang="ru-RU" sz="2000" kern="1200" dirty="0" smtClean="0"/>
            <a:t>;</a:t>
          </a:r>
          <a:endParaRPr lang="ru-RU" sz="2000" kern="1200" dirty="0"/>
        </a:p>
      </dsp:txBody>
      <dsp:txXfrm rot="-5400000">
        <a:off x="880076" y="3371916"/>
        <a:ext cx="8209282" cy="73742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751C15-8365-418E-B2F4-B5F6F5649909}">
      <dsp:nvSpPr>
        <dsp:cNvPr id="0" name=""/>
        <dsp:cNvSpPr/>
      </dsp:nvSpPr>
      <dsp:spPr>
        <a:xfrm>
          <a:off x="2934278" y="494008"/>
          <a:ext cx="932511" cy="518062"/>
        </a:xfrm>
        <a:prstGeom prst="roundRect">
          <a:avLst>
            <a:gd name="adj" fmla="val 1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/>
            <a:t>50</a:t>
          </a:r>
          <a:endParaRPr lang="ru-RU" sz="2300" kern="1200" dirty="0"/>
        </a:p>
      </dsp:txBody>
      <dsp:txXfrm>
        <a:off x="2949452" y="509182"/>
        <a:ext cx="902163" cy="487714"/>
      </dsp:txXfrm>
    </dsp:sp>
    <dsp:sp modelId="{DF63CD7A-3E9B-4721-AF5B-E14B9F92CA8A}">
      <dsp:nvSpPr>
        <dsp:cNvPr id="0" name=""/>
        <dsp:cNvSpPr/>
      </dsp:nvSpPr>
      <dsp:spPr>
        <a:xfrm>
          <a:off x="4257563" y="494008"/>
          <a:ext cx="932511" cy="518062"/>
        </a:xfrm>
        <a:prstGeom prst="roundRect">
          <a:avLst>
            <a:gd name="adj" fmla="val 1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/>
            <a:t>50</a:t>
          </a:r>
          <a:endParaRPr lang="ru-RU" sz="2300" kern="1200" dirty="0"/>
        </a:p>
      </dsp:txBody>
      <dsp:txXfrm>
        <a:off x="4272737" y="509182"/>
        <a:ext cx="902163" cy="487714"/>
      </dsp:txXfrm>
    </dsp:sp>
    <dsp:sp modelId="{DC3D3AF6-B57C-4FD9-9199-50369D321569}">
      <dsp:nvSpPr>
        <dsp:cNvPr id="0" name=""/>
        <dsp:cNvSpPr/>
      </dsp:nvSpPr>
      <dsp:spPr>
        <a:xfrm>
          <a:off x="3869726" y="2201764"/>
          <a:ext cx="388546" cy="388546"/>
        </a:xfrm>
        <a:prstGeom prst="triangle">
          <a:avLst/>
        </a:prstGeom>
        <a:solidFill>
          <a:schemeClr val="tx2">
            <a:lumMod val="75000"/>
            <a:alpha val="9000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444A15-3ADC-48C2-A7CE-40BB11B89DE2}">
      <dsp:nvSpPr>
        <dsp:cNvPr id="0" name=""/>
        <dsp:cNvSpPr/>
      </dsp:nvSpPr>
      <dsp:spPr>
        <a:xfrm>
          <a:off x="2898360" y="2039092"/>
          <a:ext cx="2331279" cy="157490"/>
        </a:xfrm>
        <a:prstGeom prst="rect">
          <a:avLst/>
        </a:prstGeom>
        <a:solidFill>
          <a:schemeClr val="tx2">
            <a:alpha val="9000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6540112-4D93-4F8C-BFFA-2018CE100A20}">
      <dsp:nvSpPr>
        <dsp:cNvPr id="0" name=""/>
        <dsp:cNvSpPr/>
      </dsp:nvSpPr>
      <dsp:spPr>
        <a:xfrm>
          <a:off x="2924263" y="632035"/>
          <a:ext cx="932511" cy="1388406"/>
        </a:xfrm>
        <a:prstGeom prst="round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6220" tIns="236220" rIns="236220" bIns="236220" numCol="1" spcCol="1270" anchor="ctr" anchorCtr="0">
          <a:noAutofit/>
        </a:bodyPr>
        <a:lstStyle/>
        <a:p>
          <a:pPr lvl="0" algn="ctr" defTabSz="2755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200" kern="1200" dirty="0"/>
        </a:p>
      </dsp:txBody>
      <dsp:txXfrm>
        <a:off x="2969784" y="677556"/>
        <a:ext cx="841469" cy="1297364"/>
      </dsp:txXfrm>
    </dsp:sp>
    <dsp:sp modelId="{E9A689F1-0E39-4DB8-90F1-09C1FAA346F9}">
      <dsp:nvSpPr>
        <dsp:cNvPr id="0" name=""/>
        <dsp:cNvSpPr/>
      </dsp:nvSpPr>
      <dsp:spPr>
        <a:xfrm>
          <a:off x="4271224" y="632035"/>
          <a:ext cx="932511" cy="1388406"/>
        </a:xfrm>
        <a:prstGeom prst="round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6220" tIns="236220" rIns="236220" bIns="236220" numCol="1" spcCol="1270" anchor="ctr" anchorCtr="0">
          <a:noAutofit/>
        </a:bodyPr>
        <a:lstStyle/>
        <a:p>
          <a:pPr lvl="0" algn="ctr" defTabSz="2755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200" kern="1200" dirty="0"/>
        </a:p>
      </dsp:txBody>
      <dsp:txXfrm>
        <a:off x="4316745" y="677556"/>
        <a:ext cx="841469" cy="129736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301157-BD22-48B0-8223-6D2C7F051A34}">
      <dsp:nvSpPr>
        <dsp:cNvPr id="0" name=""/>
        <dsp:cNvSpPr/>
      </dsp:nvSpPr>
      <dsp:spPr>
        <a:xfrm>
          <a:off x="6037" y="981454"/>
          <a:ext cx="2219885" cy="522086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600" kern="1200" dirty="0" smtClean="0"/>
            <a:t>2018 год</a:t>
          </a:r>
          <a:endParaRPr lang="ru-RU" sz="3600" kern="1200" dirty="0"/>
        </a:p>
      </dsp:txBody>
      <dsp:txXfrm>
        <a:off x="267080" y="981454"/>
        <a:ext cx="1697799" cy="522086"/>
      </dsp:txXfrm>
    </dsp:sp>
    <dsp:sp modelId="{7AF38F2B-327F-4031-B469-B240EE0E109E}">
      <dsp:nvSpPr>
        <dsp:cNvPr id="0" name=""/>
        <dsp:cNvSpPr/>
      </dsp:nvSpPr>
      <dsp:spPr>
        <a:xfrm>
          <a:off x="2056245" y="1025831"/>
          <a:ext cx="1083329" cy="433331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000" kern="1200" dirty="0"/>
        </a:p>
      </dsp:txBody>
      <dsp:txXfrm>
        <a:off x="2272911" y="1025831"/>
        <a:ext cx="649998" cy="433331"/>
      </dsp:txXfrm>
    </dsp:sp>
    <dsp:sp modelId="{D5ED88F7-A10F-477E-AA4D-28C58C97DAE0}">
      <dsp:nvSpPr>
        <dsp:cNvPr id="0" name=""/>
        <dsp:cNvSpPr/>
      </dsp:nvSpPr>
      <dsp:spPr>
        <a:xfrm>
          <a:off x="2987908" y="1025831"/>
          <a:ext cx="1083329" cy="433331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000" kern="1200" dirty="0"/>
        </a:p>
      </dsp:txBody>
      <dsp:txXfrm>
        <a:off x="3204574" y="1025831"/>
        <a:ext cx="649998" cy="433331"/>
      </dsp:txXfrm>
    </dsp:sp>
    <dsp:sp modelId="{1BA2DF0F-6606-4F76-9886-AF2B25DBA5BD}">
      <dsp:nvSpPr>
        <dsp:cNvPr id="0" name=""/>
        <dsp:cNvSpPr/>
      </dsp:nvSpPr>
      <dsp:spPr>
        <a:xfrm>
          <a:off x="3919571" y="1025831"/>
          <a:ext cx="1083329" cy="433331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000" kern="1200" dirty="0"/>
        </a:p>
      </dsp:txBody>
      <dsp:txXfrm>
        <a:off x="4136237" y="1025831"/>
        <a:ext cx="649998" cy="433331"/>
      </dsp:txXfrm>
    </dsp:sp>
    <dsp:sp modelId="{813CDFF9-E6D4-48BE-B3D7-6F70E8CEE670}">
      <dsp:nvSpPr>
        <dsp:cNvPr id="0" name=""/>
        <dsp:cNvSpPr/>
      </dsp:nvSpPr>
      <dsp:spPr>
        <a:xfrm>
          <a:off x="4851234" y="1025831"/>
          <a:ext cx="1083329" cy="433331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000" kern="1200" dirty="0"/>
        </a:p>
      </dsp:txBody>
      <dsp:txXfrm>
        <a:off x="5067900" y="1025831"/>
        <a:ext cx="649998" cy="433331"/>
      </dsp:txXfrm>
    </dsp:sp>
    <dsp:sp modelId="{1F7BD74B-00DA-499C-BED2-6213CCE0877E}">
      <dsp:nvSpPr>
        <dsp:cNvPr id="0" name=""/>
        <dsp:cNvSpPr/>
      </dsp:nvSpPr>
      <dsp:spPr>
        <a:xfrm>
          <a:off x="6037" y="1576632"/>
          <a:ext cx="2197644" cy="522086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600" kern="1200" dirty="0" smtClean="0"/>
            <a:t>2019 год </a:t>
          </a:r>
        </a:p>
      </dsp:txBody>
      <dsp:txXfrm>
        <a:off x="267080" y="1576632"/>
        <a:ext cx="1675558" cy="522086"/>
      </dsp:txXfrm>
    </dsp:sp>
    <dsp:sp modelId="{97B6BB83-772C-45EE-957A-444ABA53080E}">
      <dsp:nvSpPr>
        <dsp:cNvPr id="0" name=""/>
        <dsp:cNvSpPr/>
      </dsp:nvSpPr>
      <dsp:spPr>
        <a:xfrm>
          <a:off x="2034004" y="1621010"/>
          <a:ext cx="1083329" cy="433331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000" kern="1200" dirty="0"/>
        </a:p>
      </dsp:txBody>
      <dsp:txXfrm>
        <a:off x="2250670" y="1621010"/>
        <a:ext cx="649998" cy="433331"/>
      </dsp:txXfrm>
    </dsp:sp>
    <dsp:sp modelId="{6AC26B88-D10C-45F0-8FAE-DEDF0AFAFEF9}">
      <dsp:nvSpPr>
        <dsp:cNvPr id="0" name=""/>
        <dsp:cNvSpPr/>
      </dsp:nvSpPr>
      <dsp:spPr>
        <a:xfrm>
          <a:off x="2965667" y="1621010"/>
          <a:ext cx="1083329" cy="433331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000" kern="1200" dirty="0"/>
        </a:p>
      </dsp:txBody>
      <dsp:txXfrm>
        <a:off x="3182333" y="1621010"/>
        <a:ext cx="649998" cy="433331"/>
      </dsp:txXfrm>
    </dsp:sp>
    <dsp:sp modelId="{644AFB38-687A-4451-BD45-FAA46578AAFB}">
      <dsp:nvSpPr>
        <dsp:cNvPr id="0" name=""/>
        <dsp:cNvSpPr/>
      </dsp:nvSpPr>
      <dsp:spPr>
        <a:xfrm>
          <a:off x="3897330" y="1621010"/>
          <a:ext cx="1083329" cy="433331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000" kern="1200" dirty="0"/>
        </a:p>
      </dsp:txBody>
      <dsp:txXfrm>
        <a:off x="4113996" y="1621010"/>
        <a:ext cx="649998" cy="433331"/>
      </dsp:txXfrm>
    </dsp:sp>
    <dsp:sp modelId="{2C67A5F9-3C8E-4A0C-9C30-91C497CBB574}">
      <dsp:nvSpPr>
        <dsp:cNvPr id="0" name=""/>
        <dsp:cNvSpPr/>
      </dsp:nvSpPr>
      <dsp:spPr>
        <a:xfrm>
          <a:off x="4828993" y="1621010"/>
          <a:ext cx="1083329" cy="433331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000" kern="1200" dirty="0"/>
        </a:p>
      </dsp:txBody>
      <dsp:txXfrm>
        <a:off x="5045659" y="1621010"/>
        <a:ext cx="649998" cy="433331"/>
      </dsp:txXfrm>
    </dsp:sp>
    <dsp:sp modelId="{82335509-857D-44D1-8E34-1DFEA77D5443}">
      <dsp:nvSpPr>
        <dsp:cNvPr id="0" name=""/>
        <dsp:cNvSpPr/>
      </dsp:nvSpPr>
      <dsp:spPr>
        <a:xfrm>
          <a:off x="5760657" y="1621010"/>
          <a:ext cx="1083329" cy="433331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000" kern="1200" dirty="0"/>
        </a:p>
      </dsp:txBody>
      <dsp:txXfrm>
        <a:off x="5977323" y="1621010"/>
        <a:ext cx="649998" cy="433331"/>
      </dsp:txXfrm>
    </dsp:sp>
    <dsp:sp modelId="{98991F29-AE94-4EDB-B148-81CF0D1CB6F3}">
      <dsp:nvSpPr>
        <dsp:cNvPr id="0" name=""/>
        <dsp:cNvSpPr/>
      </dsp:nvSpPr>
      <dsp:spPr>
        <a:xfrm>
          <a:off x="6037" y="2171811"/>
          <a:ext cx="2220198" cy="522086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600" kern="1200" dirty="0" smtClean="0"/>
            <a:t>2020 год</a:t>
          </a:r>
          <a:endParaRPr lang="ru-RU" sz="3600" kern="1200" dirty="0"/>
        </a:p>
      </dsp:txBody>
      <dsp:txXfrm>
        <a:off x="267080" y="2171811"/>
        <a:ext cx="1698112" cy="522086"/>
      </dsp:txXfrm>
    </dsp:sp>
    <dsp:sp modelId="{C8E196C0-188D-419D-9977-14B3E2F52041}">
      <dsp:nvSpPr>
        <dsp:cNvPr id="0" name=""/>
        <dsp:cNvSpPr/>
      </dsp:nvSpPr>
      <dsp:spPr>
        <a:xfrm>
          <a:off x="2056558" y="2216188"/>
          <a:ext cx="1083329" cy="433331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000" kern="1200" dirty="0"/>
        </a:p>
      </dsp:txBody>
      <dsp:txXfrm>
        <a:off x="2273224" y="2216188"/>
        <a:ext cx="649998" cy="433331"/>
      </dsp:txXfrm>
    </dsp:sp>
    <dsp:sp modelId="{F9573E0D-E114-4E5B-B225-52EAEE9E105B}">
      <dsp:nvSpPr>
        <dsp:cNvPr id="0" name=""/>
        <dsp:cNvSpPr/>
      </dsp:nvSpPr>
      <dsp:spPr>
        <a:xfrm>
          <a:off x="2988221" y="2216188"/>
          <a:ext cx="1083329" cy="433331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000" kern="1200" dirty="0"/>
        </a:p>
      </dsp:txBody>
      <dsp:txXfrm>
        <a:off x="3204887" y="2216188"/>
        <a:ext cx="649998" cy="433331"/>
      </dsp:txXfrm>
    </dsp:sp>
    <dsp:sp modelId="{50F76FBB-F8BA-401A-AFD1-3D01B7CCE4B5}">
      <dsp:nvSpPr>
        <dsp:cNvPr id="0" name=""/>
        <dsp:cNvSpPr/>
      </dsp:nvSpPr>
      <dsp:spPr>
        <a:xfrm>
          <a:off x="3919884" y="2216188"/>
          <a:ext cx="1083329" cy="433331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000" kern="1200" dirty="0"/>
        </a:p>
      </dsp:txBody>
      <dsp:txXfrm>
        <a:off x="4136550" y="2216188"/>
        <a:ext cx="649998" cy="433331"/>
      </dsp:txXfrm>
    </dsp:sp>
    <dsp:sp modelId="{884D5416-8A3B-49E5-8E64-B1BA4C4AF603}">
      <dsp:nvSpPr>
        <dsp:cNvPr id="0" name=""/>
        <dsp:cNvSpPr/>
      </dsp:nvSpPr>
      <dsp:spPr>
        <a:xfrm>
          <a:off x="4851547" y="2216188"/>
          <a:ext cx="1083329" cy="433331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000" kern="1200" dirty="0"/>
        </a:p>
      </dsp:txBody>
      <dsp:txXfrm>
        <a:off x="5068213" y="2216188"/>
        <a:ext cx="649998" cy="433331"/>
      </dsp:txXfrm>
    </dsp:sp>
    <dsp:sp modelId="{24D0B049-FEEB-47B6-84A6-B9829240C7DE}">
      <dsp:nvSpPr>
        <dsp:cNvPr id="0" name=""/>
        <dsp:cNvSpPr/>
      </dsp:nvSpPr>
      <dsp:spPr>
        <a:xfrm>
          <a:off x="5783211" y="2216188"/>
          <a:ext cx="1083329" cy="433331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000" kern="1200" dirty="0"/>
        </a:p>
      </dsp:txBody>
      <dsp:txXfrm>
        <a:off x="5999877" y="2216188"/>
        <a:ext cx="649998" cy="433331"/>
      </dsp:txXfrm>
    </dsp:sp>
    <dsp:sp modelId="{6647FD37-50C2-4DF2-9705-6D66B6F0A670}">
      <dsp:nvSpPr>
        <dsp:cNvPr id="0" name=""/>
        <dsp:cNvSpPr/>
      </dsp:nvSpPr>
      <dsp:spPr>
        <a:xfrm>
          <a:off x="6714874" y="2216188"/>
          <a:ext cx="1083329" cy="433331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000" kern="1200" dirty="0"/>
        </a:p>
      </dsp:txBody>
      <dsp:txXfrm>
        <a:off x="6931540" y="2216188"/>
        <a:ext cx="649998" cy="433331"/>
      </dsp:txXfrm>
    </dsp:sp>
    <dsp:sp modelId="{445A9FB5-FEA3-4E50-BF73-CF21480E0DD7}">
      <dsp:nvSpPr>
        <dsp:cNvPr id="0" name=""/>
        <dsp:cNvSpPr/>
      </dsp:nvSpPr>
      <dsp:spPr>
        <a:xfrm>
          <a:off x="7646537" y="2216188"/>
          <a:ext cx="1083329" cy="433331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000" kern="1200" dirty="0"/>
        </a:p>
      </dsp:txBody>
      <dsp:txXfrm>
        <a:off x="7863203" y="2216188"/>
        <a:ext cx="649998" cy="433331"/>
      </dsp:txXfrm>
    </dsp:sp>
    <dsp:sp modelId="{744919BA-4E58-40A8-B5DB-DFE2F44B4FC5}">
      <dsp:nvSpPr>
        <dsp:cNvPr id="0" name=""/>
        <dsp:cNvSpPr/>
      </dsp:nvSpPr>
      <dsp:spPr>
        <a:xfrm>
          <a:off x="8578200" y="2216188"/>
          <a:ext cx="1083329" cy="433331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000" kern="1200" dirty="0"/>
        </a:p>
      </dsp:txBody>
      <dsp:txXfrm>
        <a:off x="8794866" y="2216188"/>
        <a:ext cx="649998" cy="433331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751C15-8365-418E-B2F4-B5F6F5649909}">
      <dsp:nvSpPr>
        <dsp:cNvPr id="0" name=""/>
        <dsp:cNvSpPr/>
      </dsp:nvSpPr>
      <dsp:spPr>
        <a:xfrm>
          <a:off x="2934278" y="508752"/>
          <a:ext cx="932511" cy="518062"/>
        </a:xfrm>
        <a:prstGeom prst="roundRect">
          <a:avLst>
            <a:gd name="adj" fmla="val 1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/>
            <a:t>30</a:t>
          </a:r>
          <a:endParaRPr lang="ru-RU" sz="2300" kern="1200" dirty="0"/>
        </a:p>
      </dsp:txBody>
      <dsp:txXfrm>
        <a:off x="2949452" y="523926"/>
        <a:ext cx="902163" cy="487714"/>
      </dsp:txXfrm>
    </dsp:sp>
    <dsp:sp modelId="{DF63CD7A-3E9B-4721-AF5B-E14B9F92CA8A}">
      <dsp:nvSpPr>
        <dsp:cNvPr id="0" name=""/>
        <dsp:cNvSpPr/>
      </dsp:nvSpPr>
      <dsp:spPr>
        <a:xfrm>
          <a:off x="4257563" y="508752"/>
          <a:ext cx="932511" cy="518062"/>
        </a:xfrm>
        <a:prstGeom prst="roundRect">
          <a:avLst>
            <a:gd name="adj" fmla="val 1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/>
            <a:t>70</a:t>
          </a:r>
          <a:endParaRPr lang="ru-RU" sz="2300" kern="1200" dirty="0"/>
        </a:p>
      </dsp:txBody>
      <dsp:txXfrm>
        <a:off x="4272737" y="523926"/>
        <a:ext cx="902163" cy="487714"/>
      </dsp:txXfrm>
    </dsp:sp>
    <dsp:sp modelId="{DC3D3AF6-B57C-4FD9-9199-50369D321569}">
      <dsp:nvSpPr>
        <dsp:cNvPr id="0" name=""/>
        <dsp:cNvSpPr/>
      </dsp:nvSpPr>
      <dsp:spPr>
        <a:xfrm>
          <a:off x="3869726" y="2201764"/>
          <a:ext cx="388546" cy="388546"/>
        </a:xfrm>
        <a:prstGeom prst="triangle">
          <a:avLst/>
        </a:prstGeom>
        <a:solidFill>
          <a:schemeClr val="tx2">
            <a:lumMod val="75000"/>
            <a:alpha val="9000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43269F-FAFD-439A-9C1D-79D716D0FEDE}">
      <dsp:nvSpPr>
        <dsp:cNvPr id="0" name=""/>
        <dsp:cNvSpPr/>
      </dsp:nvSpPr>
      <dsp:spPr>
        <a:xfrm rot="240000">
          <a:off x="2898004" y="2035267"/>
          <a:ext cx="2331991" cy="163068"/>
        </a:xfrm>
        <a:prstGeom prst="rect">
          <a:avLst/>
        </a:prstGeom>
        <a:solidFill>
          <a:schemeClr val="tx2"/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9D38E3F-8B17-4A73-AC81-C8AA2F6DF968}">
      <dsp:nvSpPr>
        <dsp:cNvPr id="0" name=""/>
        <dsp:cNvSpPr/>
      </dsp:nvSpPr>
      <dsp:spPr>
        <a:xfrm rot="240000">
          <a:off x="4318498" y="673546"/>
          <a:ext cx="941576" cy="1388274"/>
        </a:xfrm>
        <a:prstGeom prst="round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6220" tIns="236220" rIns="236220" bIns="236220" numCol="1" spcCol="1270" anchor="ctr" anchorCtr="0">
          <a:noAutofit/>
        </a:bodyPr>
        <a:lstStyle/>
        <a:p>
          <a:pPr lvl="0" algn="ctr" defTabSz="2755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200" kern="1200" dirty="0"/>
        </a:p>
      </dsp:txBody>
      <dsp:txXfrm>
        <a:off x="4364462" y="719510"/>
        <a:ext cx="849648" cy="1296346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8B3EA1-6011-49FE-ABD7-11FCD1FDD1DD}">
      <dsp:nvSpPr>
        <dsp:cNvPr id="0" name=""/>
        <dsp:cNvSpPr/>
      </dsp:nvSpPr>
      <dsp:spPr>
        <a:xfrm>
          <a:off x="0" y="0"/>
          <a:ext cx="7557756" cy="96339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1. Закупка новых транспортных средств на компримированном природном газе;</a:t>
          </a:r>
          <a:endParaRPr lang="ru-RU" sz="2000" kern="1200" dirty="0"/>
        </a:p>
      </dsp:txBody>
      <dsp:txXfrm>
        <a:off x="28217" y="28217"/>
        <a:ext cx="6436774" cy="906957"/>
      </dsp:txXfrm>
    </dsp:sp>
    <dsp:sp modelId="{BCB57ECD-E16E-460C-A9F2-799B29A4283C}">
      <dsp:nvSpPr>
        <dsp:cNvPr id="0" name=""/>
        <dsp:cNvSpPr/>
      </dsp:nvSpPr>
      <dsp:spPr>
        <a:xfrm>
          <a:off x="632962" y="1138553"/>
          <a:ext cx="7557756" cy="96339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2. Переоборудование существующих транспортных средств использующих жидкое моторное топливо; </a:t>
          </a:r>
          <a:endParaRPr lang="ru-RU" sz="2000" kern="1200" dirty="0"/>
        </a:p>
      </dsp:txBody>
      <dsp:txXfrm>
        <a:off x="661179" y="1166770"/>
        <a:ext cx="6242155" cy="906957"/>
      </dsp:txXfrm>
    </dsp:sp>
    <dsp:sp modelId="{43287A2B-57A6-468B-9DCD-4375144371AB}">
      <dsp:nvSpPr>
        <dsp:cNvPr id="0" name=""/>
        <dsp:cNvSpPr/>
      </dsp:nvSpPr>
      <dsp:spPr>
        <a:xfrm>
          <a:off x="1256476" y="2277107"/>
          <a:ext cx="7557756" cy="96339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3. Обучение персонала эксплуатации и обслуживанию транспортных средств на компримированном природном газе;</a:t>
          </a:r>
          <a:endParaRPr lang="ru-RU" sz="2000" kern="1200" dirty="0"/>
        </a:p>
      </dsp:txBody>
      <dsp:txXfrm>
        <a:off x="1284693" y="2305324"/>
        <a:ext cx="6251602" cy="906957"/>
      </dsp:txXfrm>
    </dsp:sp>
    <dsp:sp modelId="{0C744834-AC79-4A57-AB22-A6143C2FCB0B}">
      <dsp:nvSpPr>
        <dsp:cNvPr id="0" name=""/>
        <dsp:cNvSpPr/>
      </dsp:nvSpPr>
      <dsp:spPr>
        <a:xfrm>
          <a:off x="1889438" y="3415661"/>
          <a:ext cx="7557756" cy="96339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4. Приведение внутренней инфраструктуры организаций к требованиям безопасности, предъявляемым при эксплуатации, ремонте и обслуживании транспортных средств на компримированном природном газе.</a:t>
          </a:r>
          <a:endParaRPr lang="ru-RU" sz="1800" kern="1200" dirty="0"/>
        </a:p>
      </dsp:txBody>
      <dsp:txXfrm>
        <a:off x="1917655" y="3443878"/>
        <a:ext cx="6242155" cy="906957"/>
      </dsp:txXfrm>
    </dsp:sp>
    <dsp:sp modelId="{DACD7A38-2AA3-41ED-8C72-10FF3A07BB94}">
      <dsp:nvSpPr>
        <dsp:cNvPr id="0" name=""/>
        <dsp:cNvSpPr/>
      </dsp:nvSpPr>
      <dsp:spPr>
        <a:xfrm>
          <a:off x="6931551" y="737870"/>
          <a:ext cx="626204" cy="626204"/>
        </a:xfrm>
        <a:prstGeom prst="downArrow">
          <a:avLst>
            <a:gd name="adj1" fmla="val 55000"/>
            <a:gd name="adj2" fmla="val 45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800" kern="1200"/>
        </a:p>
      </dsp:txBody>
      <dsp:txXfrm>
        <a:off x="7072447" y="737870"/>
        <a:ext cx="344412" cy="471219"/>
      </dsp:txXfrm>
    </dsp:sp>
    <dsp:sp modelId="{A3E08DF2-3B69-4D3A-A148-3811A4404B8B}">
      <dsp:nvSpPr>
        <dsp:cNvPr id="0" name=""/>
        <dsp:cNvSpPr/>
      </dsp:nvSpPr>
      <dsp:spPr>
        <a:xfrm>
          <a:off x="7564513" y="1876424"/>
          <a:ext cx="626204" cy="626204"/>
        </a:xfrm>
        <a:prstGeom prst="downArrow">
          <a:avLst>
            <a:gd name="adj1" fmla="val 55000"/>
            <a:gd name="adj2" fmla="val 45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800" kern="1200"/>
        </a:p>
      </dsp:txBody>
      <dsp:txXfrm>
        <a:off x="7705409" y="1876424"/>
        <a:ext cx="344412" cy="471219"/>
      </dsp:txXfrm>
    </dsp:sp>
    <dsp:sp modelId="{577C56E9-B6E7-4BCD-A30A-CA768BB435EE}">
      <dsp:nvSpPr>
        <dsp:cNvPr id="0" name=""/>
        <dsp:cNvSpPr/>
      </dsp:nvSpPr>
      <dsp:spPr>
        <a:xfrm>
          <a:off x="8188028" y="3014977"/>
          <a:ext cx="626204" cy="626204"/>
        </a:xfrm>
        <a:prstGeom prst="downArrow">
          <a:avLst>
            <a:gd name="adj1" fmla="val 55000"/>
            <a:gd name="adj2" fmla="val 45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800" kern="1200"/>
        </a:p>
      </dsp:txBody>
      <dsp:txXfrm>
        <a:off x="8328924" y="3014977"/>
        <a:ext cx="344412" cy="47121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equation2">
  <dgm:title val=""/>
  <dgm:desc val=""/>
  <dgm:catLst>
    <dgm:cat type="relationship" pri="18000"/>
    <dgm:cat type="process" pri="2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linDir" val="fromL"/>
          <dgm:param type="fallback" val="2D"/>
        </dgm:alg>
      </dgm:if>
      <dgm:else name="Name3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ch" ptType="node" func="cnt" op="gte" val="3">
        <dgm:constrLst>
          <dgm:constr type="h" for="des" forName="node" refType="w" fact="0.5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ch" forName="lastNode" op="equ" val="65"/>
          <dgm:constr type="primFontSz" for="des" forName="node" op="equ" val="65"/>
          <dgm:constr type="primFontSz" for="des" forName="sibTrans" val="55"/>
          <dgm:constr type="primFontSz" for="des" forName="sibTrans" refType="primFontSz" refFor="des" refForName="node" op="lte" fact="0.8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if>
      <dgm:else name="Name6">
        <dgm:constrLst>
          <dgm:constr type="h" for="des" forName="node" refType="w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des" forName="node" val="65"/>
          <dgm:constr type="primFontSz" for="ch" forName="lastNode" refType="primFontSz" refFor="des" refForName="node" op="equ"/>
          <dgm:constr type="primFontSz" for="des" forName="sibTrans" val="55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else>
    </dgm:choose>
    <dgm:ruleLst/>
    <dgm:choose name="Name7">
      <dgm:if name="Name8" axis="ch" ptType="node" func="cnt" op="gte" val="1">
        <dgm:layoutNode name="vNodes">
          <dgm:alg type="lin">
            <dgm:param type="linDir" val="fromT"/>
            <dgm:param type="fallback" val="2D"/>
          </dgm:alg>
          <dgm:shape xmlns:r="http://schemas.openxmlformats.org/officeDocument/2006/relationships" r:blip="">
            <dgm:adjLst/>
          </dgm:shape>
          <dgm:presOf/>
          <dgm:constrLst/>
          <dgm:ruleLst/>
          <dgm:forEach name="Name9" axis="ch" ptType="node">
            <dgm:choose name="Name10">
              <dgm:if name="Name11" axis="self" func="revPos" op="neq" val="1">
                <dgm:layoutNode name="node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  <dgm:choose name="Name12">
                  <dgm:if name="Name13" axis="self" ptType="node" func="revPos" op="gt" val="2">
                    <dgm:forEach name="sibTransForEach" axis="followSib" ptType="sibTrans" cnt="1">
                      <dgm:layoutNode name="spacerT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  <dgm:layoutNode name="sibTrans">
                        <dgm:alg type="tx"/>
                        <dgm:shape xmlns:r="http://schemas.openxmlformats.org/officeDocument/2006/relationships" type="mathPlus" r:blip="">
                          <dgm:adjLst/>
                        </dgm:shape>
                        <dgm:presOf axis="self"/>
                        <dgm:constrLst>
                          <dgm:constr type="h" refType="w"/>
                          <dgm:constr type="lMarg"/>
                          <dgm:constr type="rMarg"/>
                          <dgm:constr type="tMarg"/>
                          <dgm:constr type="bMarg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spacerB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</dgm:forEach>
                  </dgm:if>
                  <dgm:else name="Name14"/>
                </dgm:choose>
              </dgm:if>
              <dgm:else name="Name15"/>
            </dgm:choose>
          </dgm:forEach>
        </dgm:layoutNode>
        <dgm:choose name="Name16">
          <dgm:if name="Name17" axis="ch" ptType="node" func="cnt" op="gt" val="1">
            <dgm:layoutNode name="sibTransLast">
              <dgm:alg type="conn">
                <dgm:param type="begPts" val="auto"/>
                <dgm:param type="endPts" val="auto"/>
                <dgm:param type="srcNode" val="vNodes"/>
                <dgm:param type="dstNode" val="lastNode"/>
              </dgm:alg>
              <dgm:shape xmlns:r="http://schemas.openxmlformats.org/officeDocument/2006/relationships" type="conn" r:blip="">
                <dgm:adjLst/>
              </dgm:shape>
              <dgm:presOf axis="ch" ptType="sibTrans" st="-1" cnt="1"/>
              <dgm:constrLst>
                <dgm:constr type="h" refType="w" fact="0.62"/>
                <dgm:constr type="connDist"/>
                <dgm:constr type="begPad" refType="connDist" fact="0.25"/>
                <dgm:constr type="endPad" refType="connDist" fact="0.22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ch desOrSelf" ptType="sibTrans sibTrans" st="-1 1" cnt="1 0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if>
          <dgm:else name="Name18"/>
        </dgm:choose>
        <dgm:layoutNode name="lastNode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ellipse" r:blip="">
            <dgm:adjLst/>
          </dgm:shape>
          <dgm:presOf axis="ch desOrSelf" ptType="node node" st="-1 1" cnt="1 0"/>
          <dgm:constrLst>
            <dgm:constr type="h" refType="w"/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</dgm:if>
      <dgm:else name="Name19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6453</cdr:x>
      <cdr:y>0.89621</cdr:y>
    </cdr:from>
    <cdr:to>
      <cdr:x>0.995</cdr:x>
      <cdr:y>0.96596</cdr:y>
    </cdr:to>
    <cdr:sp macro="" textlink="">
      <cdr:nvSpPr>
        <cdr:cNvPr id="2" name="Rectangle 14"/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005901" y="4913180"/>
          <a:ext cx="10125137" cy="38236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lIns="0" tIns="0" rIns="0" bIns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300" b="1" dirty="0">
              <a:solidFill>
                <a:schemeClr val="bg1"/>
              </a:solidFill>
              <a:latin typeface="Arial Narrow" panose="020B0606020202030204" pitchFamily="34" charset="0"/>
            </a:rPr>
            <a:t>Этапы реализации программы по расширению использования КПГ на собственном транспорте группы лиц</a:t>
          </a:r>
          <a:br>
            <a:rPr lang="ru-RU" sz="1300" b="1" dirty="0">
              <a:solidFill>
                <a:schemeClr val="bg1"/>
              </a:solidFill>
              <a:latin typeface="Arial Narrow" panose="020B0606020202030204" pitchFamily="34" charset="0"/>
            </a:rPr>
          </a:br>
          <a:r>
            <a:rPr lang="ru-RU" sz="1300" b="1" dirty="0">
              <a:solidFill>
                <a:schemeClr val="bg1"/>
              </a:solidFill>
              <a:latin typeface="Arial Narrow" panose="020B0606020202030204" pitchFamily="34" charset="0"/>
            </a:rPr>
            <a:t>ООО «Газпром межрегионгаз».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9"/>
          <p:cNvSpPr>
            <a:spLocks noChangeArrowheads="1"/>
          </p:cNvSpPr>
          <p:nvPr userDrawn="1"/>
        </p:nvSpPr>
        <p:spPr bwMode="auto">
          <a:xfrm>
            <a:off x="2247283" y="135326"/>
            <a:ext cx="7486339" cy="749003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endParaRPr lang="ru-RU" altLang="ru-RU" sz="1700" b="1" dirty="0" smtClean="0">
              <a:solidFill>
                <a:srgbClr val="0079C1"/>
              </a:solidFill>
              <a:latin typeface="Arial Narrow" pitchFamily="34" charset="0"/>
              <a:cs typeface="Arial" panose="020B0604020202020204" pitchFamily="34" charset="0"/>
            </a:endParaRPr>
          </a:p>
        </p:txBody>
      </p:sp>
      <p:sp>
        <p:nvSpPr>
          <p:cNvPr id="16" name="Line 10"/>
          <p:cNvSpPr>
            <a:spLocks noChangeShapeType="1"/>
          </p:cNvSpPr>
          <p:nvPr userDrawn="1"/>
        </p:nvSpPr>
        <p:spPr bwMode="auto">
          <a:xfrm>
            <a:off x="2102518" y="0"/>
            <a:ext cx="0" cy="1070004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endParaRPr lang="en-US">
              <a:solidFill>
                <a:srgbClr val="0079C1"/>
              </a:solidFill>
              <a:latin typeface="Arial Narrow"/>
            </a:endParaRPr>
          </a:p>
        </p:txBody>
      </p:sp>
      <p:sp>
        <p:nvSpPr>
          <p:cNvPr id="17" name="Line 17"/>
          <p:cNvSpPr>
            <a:spLocks noChangeShapeType="1"/>
          </p:cNvSpPr>
          <p:nvPr userDrawn="1"/>
        </p:nvSpPr>
        <p:spPr bwMode="auto">
          <a:xfrm>
            <a:off x="0" y="1070004"/>
            <a:ext cx="9926638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endParaRPr lang="en-US">
              <a:solidFill>
                <a:srgbClr val="0079C1"/>
              </a:solidFill>
              <a:latin typeface="Arial Narrow"/>
            </a:endParaRPr>
          </a:p>
        </p:txBody>
      </p:sp>
      <p:cxnSp>
        <p:nvCxnSpPr>
          <p:cNvPr id="18" name="Straight Connector 21"/>
          <p:cNvCxnSpPr/>
          <p:nvPr userDrawn="1"/>
        </p:nvCxnSpPr>
        <p:spPr>
          <a:xfrm>
            <a:off x="0" y="989755"/>
            <a:ext cx="9926638" cy="0"/>
          </a:xfrm>
          <a:prstGeom prst="line">
            <a:avLst/>
          </a:prstGeom>
          <a:ln>
            <a:solidFill>
              <a:srgbClr val="007D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7"/>
          <p:cNvSpPr>
            <a:spLocks noChangeArrowheads="1"/>
          </p:cNvSpPr>
          <p:nvPr userDrawn="1"/>
        </p:nvSpPr>
        <p:spPr bwMode="auto">
          <a:xfrm>
            <a:off x="2" y="0"/>
            <a:ext cx="2102518" cy="989755"/>
          </a:xfrm>
          <a:prstGeom prst="rect">
            <a:avLst/>
          </a:prstGeom>
          <a:solidFill>
            <a:srgbClr val="007D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ru-RU" dirty="0" smtClean="0">
              <a:solidFill>
                <a:srgbClr val="0079C1"/>
              </a:solidFill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3" y="-86545"/>
            <a:ext cx="1935852" cy="1076299"/>
          </a:xfrm>
          <a:prstGeom prst="rect">
            <a:avLst/>
          </a:prstGeom>
        </p:spPr>
      </p:pic>
      <p:grpSp>
        <p:nvGrpSpPr>
          <p:cNvPr id="27" name="Group 3"/>
          <p:cNvGrpSpPr>
            <a:grpSpLocks/>
          </p:cNvGrpSpPr>
          <p:nvPr/>
        </p:nvGrpSpPr>
        <p:grpSpPr bwMode="auto">
          <a:xfrm>
            <a:off x="0" y="6396428"/>
            <a:ext cx="9926638" cy="401251"/>
            <a:chOff x="0" y="3974"/>
            <a:chExt cx="5760" cy="340"/>
          </a:xfrm>
        </p:grpSpPr>
        <p:sp>
          <p:nvSpPr>
            <p:cNvPr id="28" name="Rectangle 4"/>
            <p:cNvSpPr>
              <a:spLocks noChangeArrowheads="1"/>
            </p:cNvSpPr>
            <p:nvPr userDrawn="1"/>
          </p:nvSpPr>
          <p:spPr bwMode="auto">
            <a:xfrm>
              <a:off x="0" y="3974"/>
              <a:ext cx="1220" cy="340"/>
            </a:xfrm>
            <a:prstGeom prst="rect">
              <a:avLst/>
            </a:prstGeom>
            <a:solidFill>
              <a:srgbClr val="007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ru-RU" dirty="0" smtClean="0"/>
            </a:p>
          </p:txBody>
        </p:sp>
        <p:sp>
          <p:nvSpPr>
            <p:cNvPr id="29" name="Rectangle 5"/>
            <p:cNvSpPr>
              <a:spLocks noChangeArrowheads="1"/>
            </p:cNvSpPr>
            <p:nvPr userDrawn="1"/>
          </p:nvSpPr>
          <p:spPr bwMode="auto">
            <a:xfrm>
              <a:off x="1224" y="3974"/>
              <a:ext cx="4536" cy="340"/>
            </a:xfrm>
            <a:prstGeom prst="rect">
              <a:avLst/>
            </a:prstGeom>
            <a:solidFill>
              <a:srgbClr val="BFC0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ru-RU" dirty="0" smtClean="0"/>
            </a:p>
          </p:txBody>
        </p:sp>
        <p:sp>
          <p:nvSpPr>
            <p:cNvPr id="30" name="Line 6"/>
            <p:cNvSpPr>
              <a:spLocks noChangeShapeType="1"/>
            </p:cNvSpPr>
            <p:nvPr userDrawn="1"/>
          </p:nvSpPr>
          <p:spPr bwMode="auto">
            <a:xfrm>
              <a:off x="1220" y="3974"/>
              <a:ext cx="0" cy="340"/>
            </a:xfrm>
            <a:prstGeom prst="line">
              <a:avLst/>
            </a:prstGeom>
            <a:noFill/>
            <a:ln w="1587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endParaRPr lang="en-US"/>
            </a:p>
          </p:txBody>
        </p:sp>
      </p:grp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1" y="6398025"/>
            <a:ext cx="2102572" cy="399653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1200"/>
            </a:lvl1pPr>
          </a:lstStyle>
          <a:p>
            <a:pPr algn="l"/>
            <a:fld id="{3B8C8E50-3CC7-48BD-B035-F4FBF15E4546}" type="slidenum">
              <a:rPr lang="ru-RU" b="1" smtClean="0">
                <a:solidFill>
                  <a:schemeClr val="bg1"/>
                </a:solidFill>
                <a:latin typeface="Arial Narrow" pitchFamily="34" charset="0"/>
                <a:cs typeface="Arial" panose="020B0604020202020204" pitchFamily="34" charset="0"/>
              </a:rPr>
              <a:pPr algn="l"/>
              <a:t>‹#›</a:t>
            </a:fld>
            <a:endParaRPr lang="ru-RU" b="1" dirty="0">
              <a:solidFill>
                <a:schemeClr val="bg1"/>
              </a:solidFill>
              <a:latin typeface="Arial Narrow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59011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4301543" cy="3414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3374" y="1"/>
            <a:ext cx="4301543" cy="3414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09CBAE-3C86-4F15-88D4-61AE47BE3C6E}" type="datetimeFigureOut">
              <a:rPr lang="ru-RU" smtClean="0"/>
              <a:pPr/>
              <a:t>02.10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664" y="3271382"/>
            <a:ext cx="7941310" cy="267658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6456222"/>
            <a:ext cx="4301543" cy="3414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3374" y="6456222"/>
            <a:ext cx="4301543" cy="3414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460919-9B16-4397-A3F2-08542E926DD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3880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25763" y="504825"/>
            <a:ext cx="4906962" cy="27606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89454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25763" y="504825"/>
            <a:ext cx="4906962" cy="27606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89454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25763" y="504825"/>
            <a:ext cx="4906962" cy="27606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89454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25763" y="504825"/>
            <a:ext cx="4906962" cy="27606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89454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25763" y="504825"/>
            <a:ext cx="4906962" cy="27606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89454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25763" y="504825"/>
            <a:ext cx="4906962" cy="27606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89454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25763" y="504825"/>
            <a:ext cx="4906962" cy="27606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89454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24175" y="504825"/>
            <a:ext cx="4911725" cy="27622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89454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25763" y="504825"/>
            <a:ext cx="4906962" cy="27606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89454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25763" y="504825"/>
            <a:ext cx="4906962" cy="27606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89454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25763" y="504825"/>
            <a:ext cx="4906962" cy="27606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89454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25763" y="504825"/>
            <a:ext cx="4906962" cy="27606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89454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25763" y="504825"/>
            <a:ext cx="4906962" cy="27606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89454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25763" y="504825"/>
            <a:ext cx="4906962" cy="27606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89454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6134516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59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66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6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560391" y="1690688"/>
            <a:ext cx="7631111" cy="267176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  <a:latin typeface="Arial Narrow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 презентации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79791" y="5272088"/>
            <a:ext cx="8431212" cy="40481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Arial Narrow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Должность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3379791" y="5676900"/>
            <a:ext cx="8431212" cy="40481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r">
              <a:buNone/>
              <a:defRPr sz="1800" b="1" baseline="0">
                <a:solidFill>
                  <a:schemeClr val="bg1"/>
                </a:solidFill>
                <a:latin typeface="Arial Narrow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Фамилия И.О.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2" y="0"/>
            <a:ext cx="1936751" cy="997200"/>
          </a:xfrm>
          <a:prstGeom prst="rect">
            <a:avLst/>
          </a:prstGeom>
          <a:solidFill>
            <a:srgbClr val="0066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10" name="Rectangle 8"/>
          <p:cNvSpPr>
            <a:spLocks noChangeArrowheads="1"/>
          </p:cNvSpPr>
          <p:nvPr/>
        </p:nvSpPr>
        <p:spPr bwMode="auto">
          <a:xfrm>
            <a:off x="1943102" y="0"/>
            <a:ext cx="10260900" cy="997200"/>
          </a:xfrm>
          <a:prstGeom prst="rect">
            <a:avLst/>
          </a:prstGeom>
          <a:solidFill>
            <a:srgbClr val="0033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11" name="Line 9"/>
          <p:cNvSpPr>
            <a:spLocks noChangeShapeType="1"/>
          </p:cNvSpPr>
          <p:nvPr/>
        </p:nvSpPr>
        <p:spPr bwMode="auto">
          <a:xfrm>
            <a:off x="1936751" y="0"/>
            <a:ext cx="0" cy="99720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13" name="Line 15"/>
          <p:cNvSpPr>
            <a:spLocks noChangeShapeType="1"/>
          </p:cNvSpPr>
          <p:nvPr/>
        </p:nvSpPr>
        <p:spPr bwMode="auto">
          <a:xfrm>
            <a:off x="0" y="997200"/>
            <a:ext cx="1220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endParaRPr lang="ru-RU"/>
          </a:p>
        </p:txBody>
      </p:sp>
      <p:pic>
        <p:nvPicPr>
          <p:cNvPr id="14" name="Picture 17" descr="Logo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215" y="190500"/>
            <a:ext cx="1547812" cy="744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 4"/>
          <p:cNvGrpSpPr>
            <a:grpSpLocks/>
          </p:cNvGrpSpPr>
          <p:nvPr/>
        </p:nvGrpSpPr>
        <p:grpSpPr bwMode="auto">
          <a:xfrm>
            <a:off x="0" y="6318253"/>
            <a:ext cx="12192000" cy="539751"/>
            <a:chOff x="0" y="3974"/>
            <a:chExt cx="5760" cy="340"/>
          </a:xfrm>
        </p:grpSpPr>
        <p:sp>
          <p:nvSpPr>
            <p:cNvPr id="26" name="Rectangle 5"/>
            <p:cNvSpPr>
              <a:spLocks noChangeArrowheads="1"/>
            </p:cNvSpPr>
            <p:nvPr userDrawn="1"/>
          </p:nvSpPr>
          <p:spPr bwMode="auto">
            <a:xfrm>
              <a:off x="0" y="3974"/>
              <a:ext cx="1220" cy="340"/>
            </a:xfrm>
            <a:prstGeom prst="rect">
              <a:avLst/>
            </a:prstGeom>
            <a:solidFill>
              <a:srgbClr val="0066CC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27" name="Rectangle 6"/>
            <p:cNvSpPr>
              <a:spLocks noChangeArrowheads="1"/>
            </p:cNvSpPr>
            <p:nvPr userDrawn="1"/>
          </p:nvSpPr>
          <p:spPr bwMode="auto">
            <a:xfrm>
              <a:off x="1224" y="3974"/>
              <a:ext cx="4536" cy="340"/>
            </a:xfrm>
            <a:prstGeom prst="rect">
              <a:avLst/>
            </a:prstGeom>
            <a:solidFill>
              <a:srgbClr val="3399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28" name="Line 7"/>
            <p:cNvSpPr>
              <a:spLocks noChangeShapeType="1"/>
            </p:cNvSpPr>
            <p:nvPr userDrawn="1"/>
          </p:nvSpPr>
          <p:spPr bwMode="auto">
            <a:xfrm>
              <a:off x="1220" y="3974"/>
              <a:ext cx="0" cy="340"/>
            </a:xfrm>
            <a:prstGeom prst="line">
              <a:avLst/>
            </a:prstGeom>
            <a:noFill/>
            <a:ln w="1587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ru-RU"/>
            </a:p>
          </p:txBody>
        </p:sp>
      </p:grpSp>
      <p:sp>
        <p:nvSpPr>
          <p:cNvPr id="30" name="Line 16"/>
          <p:cNvSpPr>
            <a:spLocks noChangeShapeType="1"/>
          </p:cNvSpPr>
          <p:nvPr/>
        </p:nvSpPr>
        <p:spPr bwMode="auto">
          <a:xfrm>
            <a:off x="0" y="6315074"/>
            <a:ext cx="121932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33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560391" y="5676900"/>
            <a:ext cx="2601911" cy="40481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buNone/>
              <a:defRPr sz="1800" b="0" baseline="0">
                <a:solidFill>
                  <a:schemeClr val="bg1"/>
                </a:solidFill>
                <a:latin typeface="Arial Narrow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</p:spTree>
    <p:extLst>
      <p:ext uri="{BB962C8B-B14F-4D97-AF65-F5344CB8AC3E}">
        <p14:creationId xmlns:p14="http://schemas.microsoft.com/office/powerpoint/2010/main" val="3025685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3"/>
          <p:cNvSpPr txBox="1">
            <a:spLocks/>
          </p:cNvSpPr>
          <p:nvPr/>
        </p:nvSpPr>
        <p:spPr>
          <a:xfrm>
            <a:off x="238580" y="6418513"/>
            <a:ext cx="1482727" cy="47625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274F02-7521-4F9B-A76E-13D583AC38B1}" type="slidenum"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33600" y="85725"/>
            <a:ext cx="9867901" cy="819150"/>
          </a:xfrm>
          <a:prstGeom prst="rect">
            <a:avLst/>
          </a:prstGeom>
        </p:spPr>
        <p:txBody>
          <a:bodyPr anchor="ctr" anchorCtr="0"/>
          <a:lstStyle>
            <a:lvl1pPr algn="l">
              <a:defRPr sz="2000" b="1">
                <a:solidFill>
                  <a:schemeClr val="bg1"/>
                </a:solidFill>
                <a:latin typeface="Arial Narrow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6300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010229" y="6486092"/>
            <a:ext cx="9296400" cy="3410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b="1" dirty="0" smtClean="0">
                <a:solidFill>
                  <a:prstClr val="white"/>
                </a:solidFill>
                <a:latin typeface="Arial Narrow" pitchFamily="34" charset="0"/>
                <a:cs typeface="Arial" panose="020B0604020202020204" pitchFamily="34" charset="0"/>
              </a:rPr>
              <a:t>Комплексная программа реконструкции и технического перевооружения объектов переработки газа и жидких углеводородов на 2016-2020 гг.</a:t>
            </a:r>
            <a:endParaRPr lang="ru-RU" sz="1200" b="1" dirty="0"/>
          </a:p>
        </p:txBody>
      </p:sp>
      <p:sp>
        <p:nvSpPr>
          <p:cNvPr id="6" name="Номер слайда 3"/>
          <p:cNvSpPr txBox="1">
            <a:spLocks/>
          </p:cNvSpPr>
          <p:nvPr/>
        </p:nvSpPr>
        <p:spPr>
          <a:xfrm>
            <a:off x="238580" y="6418513"/>
            <a:ext cx="1482727" cy="47625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274F02-7521-4F9B-A76E-13D583AC38B1}" type="slidenum"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33600" y="85725"/>
            <a:ext cx="9867901" cy="819150"/>
          </a:xfrm>
          <a:prstGeom prst="rect">
            <a:avLst/>
          </a:prstGeom>
        </p:spPr>
        <p:txBody>
          <a:bodyPr anchor="ctr" anchorCtr="0"/>
          <a:lstStyle>
            <a:lvl1pPr algn="l">
              <a:defRPr sz="2000" b="1">
                <a:solidFill>
                  <a:schemeClr val="bg1"/>
                </a:solidFill>
                <a:latin typeface="Arial Narrow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204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4"/>
          <p:cNvSpPr txBox="1">
            <a:spLocks/>
          </p:cNvSpPr>
          <p:nvPr/>
        </p:nvSpPr>
        <p:spPr>
          <a:xfrm>
            <a:off x="948272" y="2143125"/>
            <a:ext cx="10295465" cy="257175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4000" b="1" kern="0" cap="all" dirty="0" smtClean="0">
                <a:solidFill>
                  <a:srgbClr val="007DC5"/>
                </a:solidFill>
                <a:latin typeface="Arial Narrow" pitchFamily="34" charset="0"/>
                <a:cs typeface="Arial" panose="020B0604020202020204" pitchFamily="34" charset="0"/>
              </a:rPr>
              <a:t>Спасибо за внимание</a:t>
            </a:r>
            <a:endParaRPr lang="ru-RU" sz="2800" b="1" kern="0" dirty="0">
              <a:solidFill>
                <a:srgbClr val="007DC5"/>
              </a:solidFill>
              <a:latin typeface="Arial Narrow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010229" y="6486092"/>
            <a:ext cx="9296400" cy="3410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b="1" dirty="0" smtClean="0">
                <a:solidFill>
                  <a:prstClr val="white"/>
                </a:solidFill>
                <a:latin typeface="Arial Narrow" pitchFamily="34" charset="0"/>
                <a:cs typeface="Arial" panose="020B0604020202020204" pitchFamily="34" charset="0"/>
              </a:rPr>
              <a:t>Комплексная программа реконструкции и технического перевооружения объектов переработки газа и жидких углеводородов на 2016-2020 гг.</a:t>
            </a:r>
            <a:endParaRPr lang="ru-RU" sz="1200" b="1" dirty="0"/>
          </a:p>
        </p:txBody>
      </p:sp>
      <p:sp>
        <p:nvSpPr>
          <p:cNvPr id="7" name="Номер слайда 3"/>
          <p:cNvSpPr txBox="1">
            <a:spLocks/>
          </p:cNvSpPr>
          <p:nvPr/>
        </p:nvSpPr>
        <p:spPr>
          <a:xfrm>
            <a:off x="238580" y="6418513"/>
            <a:ext cx="1482727" cy="47625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274F02-7521-4F9B-A76E-13D583AC38B1}" type="slidenum"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0240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Чист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4791" y="566738"/>
            <a:ext cx="11618911" cy="82391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1400" b="0">
                <a:latin typeface="Arial Narrow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idx="13"/>
          </p:nvPr>
        </p:nvSpPr>
        <p:spPr>
          <a:xfrm>
            <a:off x="204791" y="1557339"/>
            <a:ext cx="11618911" cy="418623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0">
                <a:latin typeface="Arial Narrow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79215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635478956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6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3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7"/>
          <p:cNvSpPr>
            <a:spLocks noChangeArrowheads="1"/>
          </p:cNvSpPr>
          <p:nvPr/>
        </p:nvSpPr>
        <p:spPr bwMode="auto">
          <a:xfrm>
            <a:off x="2" y="0"/>
            <a:ext cx="1936751" cy="997200"/>
          </a:xfrm>
          <a:prstGeom prst="rect">
            <a:avLst/>
          </a:prstGeom>
          <a:solidFill>
            <a:srgbClr val="0066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38" name="Rectangle 8"/>
          <p:cNvSpPr>
            <a:spLocks noChangeArrowheads="1"/>
          </p:cNvSpPr>
          <p:nvPr/>
        </p:nvSpPr>
        <p:spPr bwMode="auto">
          <a:xfrm>
            <a:off x="1943102" y="0"/>
            <a:ext cx="10260900" cy="997200"/>
          </a:xfrm>
          <a:prstGeom prst="rect">
            <a:avLst/>
          </a:prstGeom>
          <a:solidFill>
            <a:srgbClr val="0033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41" name="Line 9"/>
          <p:cNvSpPr>
            <a:spLocks noChangeShapeType="1"/>
          </p:cNvSpPr>
          <p:nvPr/>
        </p:nvSpPr>
        <p:spPr bwMode="auto">
          <a:xfrm>
            <a:off x="1936751" y="0"/>
            <a:ext cx="0" cy="107950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4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159000" y="126331"/>
            <a:ext cx="9880600" cy="744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 smtClean="0"/>
              <a:t>Образец заголовка</a:t>
            </a:r>
          </a:p>
        </p:txBody>
      </p:sp>
      <p:sp>
        <p:nvSpPr>
          <p:cNvPr id="43" name="Line 15"/>
          <p:cNvSpPr>
            <a:spLocks noChangeShapeType="1"/>
          </p:cNvSpPr>
          <p:nvPr/>
        </p:nvSpPr>
        <p:spPr bwMode="auto">
          <a:xfrm>
            <a:off x="0" y="1079500"/>
            <a:ext cx="1220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endParaRPr lang="ru-RU"/>
          </a:p>
        </p:txBody>
      </p:sp>
      <p:pic>
        <p:nvPicPr>
          <p:cNvPr id="44" name="Picture 17" descr="Logo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215" y="190500"/>
            <a:ext cx="1547812" cy="744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5" name="Group 3"/>
          <p:cNvGrpSpPr>
            <a:grpSpLocks/>
          </p:cNvGrpSpPr>
          <p:nvPr/>
        </p:nvGrpSpPr>
        <p:grpSpPr bwMode="auto">
          <a:xfrm>
            <a:off x="0" y="6454800"/>
            <a:ext cx="12192000" cy="403200"/>
            <a:chOff x="0" y="3974"/>
            <a:chExt cx="7680" cy="340"/>
          </a:xfrm>
        </p:grpSpPr>
        <p:sp>
          <p:nvSpPr>
            <p:cNvPr id="46" name="Rectangle 4"/>
            <p:cNvSpPr>
              <a:spLocks noChangeArrowheads="1"/>
            </p:cNvSpPr>
            <p:nvPr userDrawn="1"/>
          </p:nvSpPr>
          <p:spPr bwMode="auto">
            <a:xfrm>
              <a:off x="0" y="3974"/>
              <a:ext cx="1220" cy="340"/>
            </a:xfrm>
            <a:prstGeom prst="rect">
              <a:avLst/>
            </a:prstGeom>
            <a:solidFill>
              <a:srgbClr val="0066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47" name="Rectangle 5"/>
            <p:cNvSpPr>
              <a:spLocks noChangeArrowheads="1"/>
            </p:cNvSpPr>
            <p:nvPr userDrawn="1"/>
          </p:nvSpPr>
          <p:spPr bwMode="auto">
            <a:xfrm>
              <a:off x="1224" y="3974"/>
              <a:ext cx="6456" cy="340"/>
            </a:xfrm>
            <a:prstGeom prst="rect">
              <a:avLst/>
            </a:prstGeom>
            <a:solidFill>
              <a:srgbClr val="3399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48" name="Line 6"/>
            <p:cNvSpPr>
              <a:spLocks noChangeShapeType="1"/>
            </p:cNvSpPr>
            <p:nvPr userDrawn="1"/>
          </p:nvSpPr>
          <p:spPr bwMode="auto">
            <a:xfrm>
              <a:off x="1220" y="3974"/>
              <a:ext cx="0" cy="340"/>
            </a:xfrm>
            <a:prstGeom prst="line">
              <a:avLst/>
            </a:prstGeom>
            <a:noFill/>
            <a:ln w="15875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357681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2" r:id="rId2"/>
    <p:sldLayoutId id="2147483679" r:id="rId3"/>
    <p:sldLayoutId id="2147483680" r:id="rId4"/>
    <p:sldLayoutId id="2147483681" r:id="rId5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bg1"/>
          </a:solidFill>
          <a:latin typeface="Arial Narrow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13" Type="http://schemas.openxmlformats.org/officeDocument/2006/relationships/diagramColors" Target="../diagrams/colors9.xml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12" Type="http://schemas.openxmlformats.org/officeDocument/2006/relationships/diagramQuickStyle" Target="../diagrams/quickStyle9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diagramLayout" Target="../diagrams/layout9.xml"/><Relationship Id="rId5" Type="http://schemas.openxmlformats.org/officeDocument/2006/relationships/notesSlide" Target="../notesSlides/notesSlide9.xml"/><Relationship Id="rId10" Type="http://schemas.openxmlformats.org/officeDocument/2006/relationships/diagramData" Target="../diagrams/data9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jpg"/><Relationship Id="rId14" Type="http://schemas.microsoft.com/office/2007/relationships/diagramDrawing" Target="../diagrams/drawing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diagramColors" Target="../diagrams/colors10.xml"/><Relationship Id="rId3" Type="http://schemas.openxmlformats.org/officeDocument/2006/relationships/tags" Target="../tags/tag23.xml"/><Relationship Id="rId7" Type="http://schemas.openxmlformats.org/officeDocument/2006/relationships/oleObject" Target="../embeddings/oleObject12.bin"/><Relationship Id="rId12" Type="http://schemas.openxmlformats.org/officeDocument/2006/relationships/diagramQuickStyle" Target="../diagrams/quickStyle10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6.jpeg"/><Relationship Id="rId11" Type="http://schemas.openxmlformats.org/officeDocument/2006/relationships/diagramLayout" Target="../diagrams/layout10.xml"/><Relationship Id="rId5" Type="http://schemas.openxmlformats.org/officeDocument/2006/relationships/notesSlide" Target="../notesSlides/notesSlide10.xml"/><Relationship Id="rId10" Type="http://schemas.openxmlformats.org/officeDocument/2006/relationships/diagramData" Target="../diagrams/data10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.jpeg"/><Relationship Id="rId14" Type="http://schemas.microsoft.com/office/2007/relationships/diagramDrawing" Target="../diagrams/drawing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13" Type="http://schemas.microsoft.com/office/2007/relationships/diagramDrawing" Target="../diagrams/drawing11.xml"/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12" Type="http://schemas.openxmlformats.org/officeDocument/2006/relationships/diagramColors" Target="../diagrams/colors1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11" Type="http://schemas.openxmlformats.org/officeDocument/2006/relationships/diagramQuickStyle" Target="../diagrams/quickStyle11.xml"/><Relationship Id="rId5" Type="http://schemas.openxmlformats.org/officeDocument/2006/relationships/notesSlide" Target="../notesSlides/notesSlide11.xml"/><Relationship Id="rId10" Type="http://schemas.openxmlformats.org/officeDocument/2006/relationships/diagramLayout" Target="../diagrams/layout11.xml"/><Relationship Id="rId4" Type="http://schemas.openxmlformats.org/officeDocument/2006/relationships/slideLayout" Target="../slideLayouts/slideLayout2.xml"/><Relationship Id="rId9" Type="http://schemas.openxmlformats.org/officeDocument/2006/relationships/diagramData" Target="../diagrams/data11.xml"/><Relationship Id="rId14" Type="http://schemas.openxmlformats.org/officeDocument/2006/relationships/chart" Target="../charts/char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diagramColors" Target="../diagrams/colors12.xml"/><Relationship Id="rId3" Type="http://schemas.openxmlformats.org/officeDocument/2006/relationships/tags" Target="../tags/tag27.xml"/><Relationship Id="rId7" Type="http://schemas.openxmlformats.org/officeDocument/2006/relationships/oleObject" Target="../embeddings/oleObject14.bin"/><Relationship Id="rId12" Type="http://schemas.openxmlformats.org/officeDocument/2006/relationships/diagramQuickStyle" Target="../diagrams/quickStyle1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6.jpeg"/><Relationship Id="rId11" Type="http://schemas.openxmlformats.org/officeDocument/2006/relationships/diagramLayout" Target="../diagrams/layout12.xml"/><Relationship Id="rId5" Type="http://schemas.openxmlformats.org/officeDocument/2006/relationships/notesSlide" Target="../notesSlides/notesSlide12.xml"/><Relationship Id="rId10" Type="http://schemas.openxmlformats.org/officeDocument/2006/relationships/diagramData" Target="../diagrams/data1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.jpeg"/><Relationship Id="rId14" Type="http://schemas.microsoft.com/office/2007/relationships/diagramDrawing" Target="../diagrams/drawing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13" Type="http://schemas.microsoft.com/office/2007/relationships/diagramDrawing" Target="../diagrams/drawing13.xml"/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12" Type="http://schemas.openxmlformats.org/officeDocument/2006/relationships/diagramColors" Target="../diagrams/colors1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11" Type="http://schemas.openxmlformats.org/officeDocument/2006/relationships/diagramQuickStyle" Target="../diagrams/quickStyle13.xml"/><Relationship Id="rId5" Type="http://schemas.openxmlformats.org/officeDocument/2006/relationships/notesSlide" Target="../notesSlides/notesSlide13.xml"/><Relationship Id="rId10" Type="http://schemas.openxmlformats.org/officeDocument/2006/relationships/diagramLayout" Target="../diagrams/layout13.xml"/><Relationship Id="rId4" Type="http://schemas.openxmlformats.org/officeDocument/2006/relationships/slideLayout" Target="../slideLayouts/slideLayout2.xml"/><Relationship Id="rId9" Type="http://schemas.openxmlformats.org/officeDocument/2006/relationships/diagramData" Target="../diagrams/data13.xml"/><Relationship Id="rId14" Type="http://schemas.openxmlformats.org/officeDocument/2006/relationships/image" Target="../media/image10.jp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31.xml"/><Relationship Id="rId7" Type="http://schemas.openxmlformats.org/officeDocument/2006/relationships/image" Target="../media/image1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diagramColors" Target="../diagrams/colors1.xml"/><Relationship Id="rId3" Type="http://schemas.openxmlformats.org/officeDocument/2006/relationships/tags" Target="../tags/tag5.xml"/><Relationship Id="rId7" Type="http://schemas.openxmlformats.org/officeDocument/2006/relationships/oleObject" Target="../embeddings/oleObject3.bin"/><Relationship Id="rId12" Type="http://schemas.openxmlformats.org/officeDocument/2006/relationships/diagramQuickStyle" Target="../diagrams/quickStyle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11" Type="http://schemas.openxmlformats.org/officeDocument/2006/relationships/diagramLayout" Target="../diagrams/layout1.xml"/><Relationship Id="rId5" Type="http://schemas.openxmlformats.org/officeDocument/2006/relationships/notesSlide" Target="../notesSlides/notesSlide1.xml"/><Relationship Id="rId10" Type="http://schemas.openxmlformats.org/officeDocument/2006/relationships/diagramData" Target="../diagrams/data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.jpeg"/><Relationship Id="rId14" Type="http://schemas.microsoft.com/office/2007/relationships/diagramDrawing" Target="../diagrams/drawin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7.xml"/><Relationship Id="rId7" Type="http://schemas.openxmlformats.org/officeDocument/2006/relationships/chart" Target="../charts/char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4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13" Type="http://schemas.microsoft.com/office/2007/relationships/diagramDrawing" Target="../diagrams/drawing2.xml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12" Type="http://schemas.openxmlformats.org/officeDocument/2006/relationships/diagramColors" Target="../diagrams/colors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diagramQuickStyle" Target="../diagrams/quickStyle2.xml"/><Relationship Id="rId5" Type="http://schemas.openxmlformats.org/officeDocument/2006/relationships/notesSlide" Target="../notesSlides/notesSlide3.xml"/><Relationship Id="rId10" Type="http://schemas.openxmlformats.org/officeDocument/2006/relationships/diagramLayout" Target="../diagrams/layout2.xml"/><Relationship Id="rId4" Type="http://schemas.openxmlformats.org/officeDocument/2006/relationships/slideLayout" Target="../slideLayouts/slideLayout2.xml"/><Relationship Id="rId9" Type="http://schemas.openxmlformats.org/officeDocument/2006/relationships/diagramData" Target="../diagrams/data2.xml"/><Relationship Id="rId1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13" Type="http://schemas.microsoft.com/office/2007/relationships/diagramDrawing" Target="../diagrams/drawing3.xml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12" Type="http://schemas.openxmlformats.org/officeDocument/2006/relationships/diagramColors" Target="../diagrams/colors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diagramQuickStyle" Target="../diagrams/quickStyle3.xml"/><Relationship Id="rId5" Type="http://schemas.openxmlformats.org/officeDocument/2006/relationships/notesSlide" Target="../notesSlides/notesSlide4.xml"/><Relationship Id="rId10" Type="http://schemas.openxmlformats.org/officeDocument/2006/relationships/diagramLayout" Target="../diagrams/layout3.xml"/><Relationship Id="rId4" Type="http://schemas.openxmlformats.org/officeDocument/2006/relationships/slideLayout" Target="../slideLayouts/slideLayout2.xml"/><Relationship Id="rId9" Type="http://schemas.openxmlformats.org/officeDocument/2006/relationships/diagramData" Target="../diagrams/data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diagramColors" Target="../diagrams/colors4.xml"/><Relationship Id="rId3" Type="http://schemas.openxmlformats.org/officeDocument/2006/relationships/tags" Target="../tags/tag13.xml"/><Relationship Id="rId7" Type="http://schemas.openxmlformats.org/officeDocument/2006/relationships/oleObject" Target="../embeddings/oleObject7.bin"/><Relationship Id="rId12" Type="http://schemas.openxmlformats.org/officeDocument/2006/relationships/diagramQuickStyle" Target="../diagrams/quickStyle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jpeg"/><Relationship Id="rId11" Type="http://schemas.openxmlformats.org/officeDocument/2006/relationships/diagramLayout" Target="../diagrams/layout4.xml"/><Relationship Id="rId5" Type="http://schemas.openxmlformats.org/officeDocument/2006/relationships/notesSlide" Target="../notesSlides/notesSlide5.xml"/><Relationship Id="rId10" Type="http://schemas.openxmlformats.org/officeDocument/2006/relationships/diagramData" Target="../diagrams/data4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.jpeg"/><Relationship Id="rId14" Type="http://schemas.microsoft.com/office/2007/relationships/diagramDrawing" Target="../diagrams/drawing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13" Type="http://schemas.openxmlformats.org/officeDocument/2006/relationships/diagramColors" Target="../diagrams/colors5.xml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12" Type="http://schemas.openxmlformats.org/officeDocument/2006/relationships/diagramQuickStyle" Target="../diagrams/quickStyle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diagramLayout" Target="../diagrams/layout5.xml"/><Relationship Id="rId5" Type="http://schemas.openxmlformats.org/officeDocument/2006/relationships/notesSlide" Target="../notesSlides/notesSlide6.xml"/><Relationship Id="rId10" Type="http://schemas.openxmlformats.org/officeDocument/2006/relationships/diagramData" Target="../diagrams/data5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jpg"/><Relationship Id="rId14" Type="http://schemas.microsoft.com/office/2007/relationships/diagramDrawing" Target="../diagrams/drawing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6.xml"/><Relationship Id="rId13" Type="http://schemas.openxmlformats.org/officeDocument/2006/relationships/diagramData" Target="../diagrams/data7.xml"/><Relationship Id="rId18" Type="http://schemas.openxmlformats.org/officeDocument/2006/relationships/oleObject" Target="../embeddings/oleObject10.bin"/><Relationship Id="rId26" Type="http://schemas.openxmlformats.org/officeDocument/2006/relationships/diagramLayout" Target="../diagrams/layout8.xml"/><Relationship Id="rId3" Type="http://schemas.openxmlformats.org/officeDocument/2006/relationships/tags" Target="../tags/tag19.xml"/><Relationship Id="rId21" Type="http://schemas.openxmlformats.org/officeDocument/2006/relationships/image" Target="../media/image14.png"/><Relationship Id="rId7" Type="http://schemas.microsoft.com/office/2007/relationships/hdphoto" Target="../media/hdphoto1.wdp"/><Relationship Id="rId12" Type="http://schemas.microsoft.com/office/2007/relationships/diagramDrawing" Target="../diagrams/drawing6.xml"/><Relationship Id="rId17" Type="http://schemas.microsoft.com/office/2007/relationships/diagramDrawing" Target="../diagrams/drawing7.xml"/><Relationship Id="rId25" Type="http://schemas.openxmlformats.org/officeDocument/2006/relationships/diagramData" Target="../diagrams/data8.xml"/><Relationship Id="rId2" Type="http://schemas.openxmlformats.org/officeDocument/2006/relationships/tags" Target="../tags/tag18.xml"/><Relationship Id="rId16" Type="http://schemas.openxmlformats.org/officeDocument/2006/relationships/diagramColors" Target="../diagrams/colors7.xml"/><Relationship Id="rId20" Type="http://schemas.openxmlformats.org/officeDocument/2006/relationships/image" Target="../media/image4.jpeg"/><Relationship Id="rId29" Type="http://schemas.microsoft.com/office/2007/relationships/diagramDrawing" Target="../diagrams/drawing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3.png"/><Relationship Id="rId11" Type="http://schemas.openxmlformats.org/officeDocument/2006/relationships/diagramColors" Target="../diagrams/colors6.xml"/><Relationship Id="rId24" Type="http://schemas.microsoft.com/office/2007/relationships/hdphoto" Target="../media/hdphoto3.wdp"/><Relationship Id="rId5" Type="http://schemas.openxmlformats.org/officeDocument/2006/relationships/notesSlide" Target="../notesSlides/notesSlide8.xml"/><Relationship Id="rId15" Type="http://schemas.openxmlformats.org/officeDocument/2006/relationships/diagramQuickStyle" Target="../diagrams/quickStyle7.xml"/><Relationship Id="rId23" Type="http://schemas.openxmlformats.org/officeDocument/2006/relationships/image" Target="../media/image15.png"/><Relationship Id="rId28" Type="http://schemas.openxmlformats.org/officeDocument/2006/relationships/diagramColors" Target="../diagrams/colors8.xml"/><Relationship Id="rId10" Type="http://schemas.openxmlformats.org/officeDocument/2006/relationships/diagramQuickStyle" Target="../diagrams/quickStyle6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.xml"/><Relationship Id="rId9" Type="http://schemas.openxmlformats.org/officeDocument/2006/relationships/diagramLayout" Target="../diagrams/layout6.xml"/><Relationship Id="rId14" Type="http://schemas.openxmlformats.org/officeDocument/2006/relationships/diagramLayout" Target="../diagrams/layout7.xml"/><Relationship Id="rId22" Type="http://schemas.microsoft.com/office/2007/relationships/hdphoto" Target="../media/hdphoto2.wdp"/><Relationship Id="rId27" Type="http://schemas.openxmlformats.org/officeDocument/2006/relationships/diagramQuickStyle" Target="../diagrams/quickStyle8.xml"/><Relationship Id="rId30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9"/>
          <p:cNvSpPr>
            <a:spLocks noGrp="1"/>
          </p:cNvSpPr>
          <p:nvPr>
            <p:ph type="body" idx="10"/>
          </p:nvPr>
        </p:nvSpPr>
        <p:spPr>
          <a:xfrm>
            <a:off x="2601600" y="1093190"/>
            <a:ext cx="9266550" cy="3686627"/>
          </a:xfrm>
        </p:spPr>
        <p:txBody>
          <a:bodyPr lIns="162000"/>
          <a:lstStyle/>
          <a:p>
            <a:r>
              <a:rPr lang="ru-RU" sz="4000" dirty="0" smtClean="0"/>
              <a:t>Этапы реализации </a:t>
            </a:r>
            <a:r>
              <a:rPr lang="ru-RU" sz="4000" dirty="0"/>
              <a:t>программы по расширению использования КПГ на собственном транспорте группы </a:t>
            </a:r>
            <a:r>
              <a:rPr lang="ru-RU" sz="4000" dirty="0" smtClean="0"/>
              <a:t>лиц</a:t>
            </a:r>
            <a:br>
              <a:rPr lang="ru-RU" sz="4000" dirty="0" smtClean="0"/>
            </a:br>
            <a:r>
              <a:rPr lang="ru-RU" sz="4000" dirty="0" smtClean="0"/>
              <a:t>ООО </a:t>
            </a:r>
            <a:r>
              <a:rPr lang="ru-RU" sz="4000" dirty="0"/>
              <a:t>«Газпром межрегионгаз»</a:t>
            </a:r>
            <a:r>
              <a:rPr lang="ru-RU" sz="4000" dirty="0" smtClean="0"/>
              <a:t>.</a:t>
            </a:r>
            <a:endParaRPr lang="ru-RU" sz="4000" dirty="0"/>
          </a:p>
          <a:p>
            <a:endParaRPr lang="ru-RU" sz="3000" dirty="0"/>
          </a:p>
        </p:txBody>
      </p:sp>
      <p:sp>
        <p:nvSpPr>
          <p:cNvPr id="11" name="Текст 10"/>
          <p:cNvSpPr>
            <a:spLocks noGrp="1"/>
          </p:cNvSpPr>
          <p:nvPr>
            <p:ph type="body" idx="11"/>
          </p:nvPr>
        </p:nvSpPr>
        <p:spPr>
          <a:xfrm>
            <a:off x="2601600" y="4958988"/>
            <a:ext cx="9590400" cy="1086212"/>
          </a:xfrm>
        </p:spPr>
        <p:txBody>
          <a:bodyPr lIns="162000">
            <a:noAutofit/>
          </a:bodyPr>
          <a:lstStyle/>
          <a:p>
            <a:pPr algn="l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400" dirty="0" smtClean="0">
                <a:solidFill>
                  <a:prstClr val="white"/>
                </a:solidFill>
              </a:rPr>
              <a:t>Филинов Алексей Викторович</a:t>
            </a:r>
            <a:endParaRPr lang="ru-RU" sz="2400" dirty="0">
              <a:solidFill>
                <a:prstClr val="white"/>
              </a:solidFill>
            </a:endParaRPr>
          </a:p>
          <a:p>
            <a:pPr algn="l" fontAlgn="base">
              <a:spcBef>
                <a:spcPts val="600"/>
              </a:spcBef>
              <a:spcAft>
                <a:spcPct val="0"/>
              </a:spcAft>
            </a:pPr>
            <a:r>
              <a:rPr lang="ru-RU" sz="2200" b="0" dirty="0" smtClean="0">
                <a:solidFill>
                  <a:prstClr val="white"/>
                </a:solidFill>
              </a:rPr>
              <a:t>Начальник </a:t>
            </a:r>
            <a:r>
              <a:rPr lang="ru-RU" sz="2200" b="0" dirty="0">
                <a:solidFill>
                  <a:prstClr val="white"/>
                </a:solidFill>
              </a:rPr>
              <a:t>управления стандартизации </a:t>
            </a:r>
          </a:p>
          <a:p>
            <a:pPr algn="l" fontAlgn="base">
              <a:spcBef>
                <a:spcPts val="600"/>
              </a:spcBef>
              <a:spcAft>
                <a:spcPct val="0"/>
              </a:spcAft>
            </a:pPr>
            <a:r>
              <a:rPr lang="ru-RU" sz="2200" b="0" dirty="0">
                <a:solidFill>
                  <a:prstClr val="white"/>
                </a:solidFill>
              </a:rPr>
              <a:t>и технического развития ООО «Газпром межрегионгаз»</a:t>
            </a:r>
            <a:endParaRPr lang="ru-RU" sz="2200" b="0" dirty="0"/>
          </a:p>
        </p:txBody>
      </p:sp>
      <p:sp>
        <p:nvSpPr>
          <p:cNvPr id="12" name="Текст 11"/>
          <p:cNvSpPr>
            <a:spLocks noGrp="1"/>
          </p:cNvSpPr>
          <p:nvPr>
            <p:ph type="body" idx="12"/>
          </p:nvPr>
        </p:nvSpPr>
        <p:spPr>
          <a:xfrm>
            <a:off x="2603500" y="6369360"/>
            <a:ext cx="9588502" cy="404812"/>
          </a:xfrm>
        </p:spPr>
        <p:txBody>
          <a:bodyPr lIns="162000"/>
          <a:lstStyle/>
          <a:p>
            <a:pPr>
              <a:defRPr/>
            </a:pPr>
            <a:r>
              <a:rPr lang="ru-RU" sz="1500" b="1" cap="all" spc="-40" dirty="0" smtClean="0">
                <a:solidFill>
                  <a:prstClr val="white"/>
                </a:solidFill>
              </a:rPr>
              <a:t>Санкт-Петербург</a:t>
            </a:r>
            <a:r>
              <a:rPr lang="ru-RU" sz="1500" b="1" cap="all" spc="-40" dirty="0">
                <a:solidFill>
                  <a:prstClr val="white"/>
                </a:solidFill>
              </a:rPr>
              <a:t>, </a:t>
            </a:r>
            <a:r>
              <a:rPr lang="ru-RU" sz="1500" b="1" cap="all" spc="-40" dirty="0" smtClean="0">
                <a:solidFill>
                  <a:prstClr val="white"/>
                </a:solidFill>
              </a:rPr>
              <a:t>02 ОКТЯБРЯ 2018 </a:t>
            </a:r>
            <a:r>
              <a:rPr lang="ru-RU" sz="1500" b="1" cap="all" spc="-40" dirty="0">
                <a:solidFill>
                  <a:prstClr val="white"/>
                </a:solidFill>
              </a:rPr>
              <a:t>г.</a:t>
            </a:r>
            <a:endParaRPr lang="en-US" sz="1500" b="1" dirty="0"/>
          </a:p>
        </p:txBody>
      </p:sp>
      <p:pic>
        <p:nvPicPr>
          <p:cNvPr id="6" name="Picture 7" descr="C:\Documents and Settings\u5200002\Рабочий стол\МРГ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0271" y="12998"/>
            <a:ext cx="1754513" cy="97847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86677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2711894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9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-12990" y="-74513"/>
            <a:ext cx="184731" cy="307777"/>
          </a:xfrm>
          <a:prstGeom prst="rect">
            <a:avLst/>
          </a:prstGeom>
          <a:solidFill>
            <a:scrgbClr r="0" g="0" b="0"/>
          </a:solidFill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b="1" kern="0" dirty="0">
              <a:solidFill>
                <a:prstClr val="white"/>
              </a:solidFill>
              <a:latin typeface="Arial Narrow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5" name="Picture 7" descr="C:\Documents and Settings\u5200002\Рабочий стол\МРГ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8842" y="12998"/>
            <a:ext cx="1754513" cy="978478"/>
          </a:xfrm>
          <a:prstGeom prst="rect">
            <a:avLst/>
          </a:prstGeom>
          <a:noFill/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2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25" r="19156"/>
          <a:stretch/>
        </p:blipFill>
        <p:spPr>
          <a:xfrm>
            <a:off x="250730" y="1860755"/>
            <a:ext cx="2271251" cy="3962400"/>
          </a:xfrm>
          <a:prstGeom prst="rect">
            <a:avLst/>
          </a:prstGeom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b="0" dirty="0">
                <a:ea typeface="Source Sans Pro Semibold" panose="020B0603030403020204" pitchFamily="34" charset="0"/>
              </a:rPr>
              <a:t>Мероприятия Программы по переводу ТС на КПГ</a:t>
            </a:r>
            <a:endParaRPr lang="ru-RU" dirty="0"/>
          </a:p>
        </p:txBody>
      </p:sp>
      <p:graphicFrame>
        <p:nvGraphicFramePr>
          <p:cNvPr id="13" name="Схема 12"/>
          <p:cNvGraphicFramePr/>
          <p:nvPr>
            <p:extLst>
              <p:ext uri="{D42A27DB-BD31-4B8C-83A1-F6EECF244321}">
                <p14:modId xmlns:p14="http://schemas.microsoft.com/office/powerpoint/2010/main" val="945610496"/>
              </p:ext>
            </p:extLst>
          </p:nvPr>
        </p:nvGraphicFramePr>
        <p:xfrm>
          <a:off x="2403133" y="1522983"/>
          <a:ext cx="9447195" cy="43790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0" name="Rectangle 14"/>
          <p:cNvSpPr>
            <a:spLocks noChangeArrowheads="1"/>
          </p:cNvSpPr>
          <p:nvPr/>
        </p:nvSpPr>
        <p:spPr bwMode="auto">
          <a:xfrm>
            <a:off x="1981698" y="6476316"/>
            <a:ext cx="10125137" cy="382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Этапы реализации программы по расширению использования КПГ на собственном транспорте группы лиц</a:t>
            </a:r>
            <a:b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ООО «Газпром межрегионгаз».</a:t>
            </a:r>
          </a:p>
        </p:txBody>
      </p:sp>
    </p:spTree>
    <p:extLst>
      <p:ext uri="{BB962C8B-B14F-4D97-AF65-F5344CB8AC3E}">
        <p14:creationId xmlns:p14="http://schemas.microsoft.com/office/powerpoint/2010/main" val="3261314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9742" name="Picture 62" descr="ÐºÐ°ÑÑÐ¸Ð½ÐºÐ° ÑÐµÐ»Ð¾Ð²ÐµÑÐµÐº Ð´Ð»Ñ Ð¿ÑÐµÐ·ÐµÐ½ÑÐ°ÑÐ¸Ð¸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2" y="1366667"/>
            <a:ext cx="4800598" cy="4946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0151917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5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-12990" y="-74513"/>
            <a:ext cx="184731" cy="307777"/>
          </a:xfrm>
          <a:prstGeom prst="rect">
            <a:avLst/>
          </a:prstGeom>
          <a:solidFill>
            <a:scrgbClr r="0" g="0" b="0"/>
          </a:solidFill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b="1" kern="0" dirty="0">
              <a:solidFill>
                <a:prstClr val="white"/>
              </a:solidFill>
              <a:latin typeface="Arial Narrow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2400" b="0" dirty="0">
                <a:ea typeface="Source Sans Pro Semibold" panose="020B0603030403020204" pitchFamily="34" charset="0"/>
              </a:rPr>
              <a:t>Допущения и предпосылки финансово-экономической модели </a:t>
            </a:r>
            <a:endParaRPr lang="ru-RU" sz="2400" b="0" i="1" dirty="0"/>
          </a:p>
        </p:txBody>
      </p:sp>
      <p:pic>
        <p:nvPicPr>
          <p:cNvPr id="15" name="Picture 7" descr="C:\Documents and Settings\u5200002\Рабочий стол\МРГ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8842" y="12998"/>
            <a:ext cx="1754513" cy="978478"/>
          </a:xfrm>
          <a:prstGeom prst="rect">
            <a:avLst/>
          </a:prstGeom>
          <a:noFill/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2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908807231"/>
              </p:ext>
            </p:extLst>
          </p:nvPr>
        </p:nvGraphicFramePr>
        <p:xfrm>
          <a:off x="3596640" y="1889760"/>
          <a:ext cx="8214360" cy="4248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5" name="AutoShape 60" descr="ÐÐ°ÑÑÐ¸Ð½ÐºÐ¸ Ð¿Ð¾ Ð·Ð°Ð¿ÑÐ¾ÑÑ ÑÐµÐ»Ð¾Ð²ÐµÑÐµÐº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1981698" y="6476316"/>
            <a:ext cx="10125137" cy="382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Этапы реализации программы по расширению использования КПГ на собственном транспорте группы лиц</a:t>
            </a:r>
            <a:b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ООО «Газпром межрегионгаз».</a:t>
            </a:r>
          </a:p>
        </p:txBody>
      </p:sp>
    </p:spTree>
    <p:extLst>
      <p:ext uri="{BB962C8B-B14F-4D97-AF65-F5344CB8AC3E}">
        <p14:creationId xmlns:p14="http://schemas.microsoft.com/office/powerpoint/2010/main" val="1729330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8070209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3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-12990" y="-74513"/>
            <a:ext cx="184731" cy="307777"/>
          </a:xfrm>
          <a:prstGeom prst="rect">
            <a:avLst/>
          </a:prstGeom>
          <a:solidFill>
            <a:scrgbClr r="0" g="0" b="0"/>
          </a:solidFill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b="1" kern="0" dirty="0">
              <a:solidFill>
                <a:prstClr val="white"/>
              </a:solidFill>
              <a:latin typeface="Arial Narrow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2400" b="0" dirty="0">
                <a:ea typeface="Source Sans Pro Semibold" panose="020B0603030403020204" pitchFamily="34" charset="0"/>
              </a:rPr>
              <a:t>C</a:t>
            </a:r>
            <a:r>
              <a:rPr lang="ru-RU" sz="2400" b="0" dirty="0" err="1" smtClean="0">
                <a:ea typeface="Source Sans Pro Semibold" panose="020B0603030403020204" pitchFamily="34" charset="0"/>
              </a:rPr>
              <a:t>труктура</a:t>
            </a:r>
            <a:r>
              <a:rPr lang="ru-RU" sz="2400" b="0" dirty="0" smtClean="0">
                <a:ea typeface="Source Sans Pro Semibold" panose="020B0603030403020204" pitchFamily="34" charset="0"/>
              </a:rPr>
              <a:t> </a:t>
            </a:r>
            <a:r>
              <a:rPr lang="ru-RU" sz="2400" b="0" dirty="0">
                <a:ea typeface="Source Sans Pro Semibold" panose="020B0603030403020204" pitchFamily="34" charset="0"/>
              </a:rPr>
              <a:t>инвестиций</a:t>
            </a:r>
            <a:endParaRPr lang="ru-RU" sz="2400" b="0" i="1" dirty="0"/>
          </a:p>
        </p:txBody>
      </p:sp>
      <p:pic>
        <p:nvPicPr>
          <p:cNvPr id="15" name="Picture 7" descr="C:\Documents and Settings\u5200002\Рабочий стол\МРГ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8842" y="12998"/>
            <a:ext cx="1754513" cy="978478"/>
          </a:xfrm>
          <a:prstGeom prst="rect">
            <a:avLst/>
          </a:prstGeom>
          <a:noFill/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2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5" name="AutoShape 60" descr="ÐÐ°ÑÑÐ¸Ð½ÐºÐ¸ Ð¿Ð¾ Ð·Ð°Ð¿ÑÐ¾ÑÑ ÑÐµÐ»Ð¾Ð²ÐµÑÐµÐº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1627978936"/>
              </p:ext>
            </p:extLst>
          </p:nvPr>
        </p:nvGraphicFramePr>
        <p:xfrm>
          <a:off x="3990340" y="2400300"/>
          <a:ext cx="8128000" cy="23816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12" name="Диаграмма 11"/>
          <p:cNvGraphicFramePr/>
          <p:nvPr>
            <p:extLst>
              <p:ext uri="{D42A27DB-BD31-4B8C-83A1-F6EECF244321}">
                <p14:modId xmlns:p14="http://schemas.microsoft.com/office/powerpoint/2010/main" val="3758175794"/>
              </p:ext>
            </p:extLst>
          </p:nvPr>
        </p:nvGraphicFramePr>
        <p:xfrm>
          <a:off x="-556260" y="1082040"/>
          <a:ext cx="5216527" cy="4853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1981698" y="6476316"/>
            <a:ext cx="10125137" cy="382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Этапы реализации программы по расширению использования КПГ на собственном транспорте группы лиц</a:t>
            </a:r>
            <a:b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ООО «Газпром межрегионгаз».</a:t>
            </a:r>
          </a:p>
        </p:txBody>
      </p:sp>
    </p:spTree>
    <p:extLst>
      <p:ext uri="{BB962C8B-B14F-4D97-AF65-F5344CB8AC3E}">
        <p14:creationId xmlns:p14="http://schemas.microsoft.com/office/powerpoint/2010/main" val="3205985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62" descr="ÐºÐ°ÑÑÐ¸Ð½ÐºÐ° ÑÐµÐ»Ð¾Ð²ÐµÑÐµÐº Ð´Ð»Ñ Ð¿ÑÐµÐ·ÐµÐ½ÑÐ°ÑÐ¸Ð¸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2" y="1366667"/>
            <a:ext cx="4800598" cy="4946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1855959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-12990" y="-74513"/>
            <a:ext cx="184731" cy="307777"/>
          </a:xfrm>
          <a:prstGeom prst="rect">
            <a:avLst/>
          </a:prstGeom>
          <a:solidFill>
            <a:scrgbClr r="0" g="0" b="0"/>
          </a:solidFill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b="1" kern="0" dirty="0">
              <a:solidFill>
                <a:prstClr val="white"/>
              </a:solidFill>
              <a:latin typeface="Arial Narrow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2400" b="0" dirty="0" smtClean="0">
                <a:ea typeface="Source Sans Pro Semibold" panose="020B0603030403020204" pitchFamily="34" charset="0"/>
              </a:rPr>
              <a:t>Срок окупаемости Программы</a:t>
            </a:r>
            <a:endParaRPr lang="ru-RU" sz="2400" b="0" i="1" dirty="0"/>
          </a:p>
        </p:txBody>
      </p:sp>
      <p:pic>
        <p:nvPicPr>
          <p:cNvPr id="15" name="Picture 7" descr="C:\Documents and Settings\u5200002\Рабочий стол\МРГ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8842" y="12998"/>
            <a:ext cx="1754513" cy="978478"/>
          </a:xfrm>
          <a:prstGeom prst="rect">
            <a:avLst/>
          </a:prstGeom>
          <a:noFill/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2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5" name="AutoShape 60" descr="ÐÐ°ÑÑÐ¸Ð½ÐºÐ¸ Ð¿Ð¾ Ð·Ð°Ð¿ÑÐ¾ÑÑ ÑÐµÐ»Ð¾Ð²ÐµÑÐµÐº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2996076259"/>
              </p:ext>
            </p:extLst>
          </p:nvPr>
        </p:nvGraphicFramePr>
        <p:xfrm>
          <a:off x="3596640" y="1366667"/>
          <a:ext cx="8214360" cy="34747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145280" y="5151120"/>
            <a:ext cx="7353300" cy="83099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/>
              <a:t>Срок </a:t>
            </a:r>
            <a:r>
              <a:rPr lang="ru-RU" sz="2400" dirty="0"/>
              <a:t>окупаемости проекта консолидировано для группы лиц ООО «Газпром межрегионгаз» составляет </a:t>
            </a:r>
            <a:r>
              <a:rPr lang="ru-RU" sz="2400" dirty="0" smtClean="0"/>
              <a:t>5 </a:t>
            </a:r>
            <a:r>
              <a:rPr lang="ru-RU" sz="2400" dirty="0"/>
              <a:t>лет</a:t>
            </a: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1981698" y="6476316"/>
            <a:ext cx="10125137" cy="382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Этапы реализации программы по расширению использования КПГ на собственном транспорте группы лиц</a:t>
            </a:r>
            <a:b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ООО «Газпром межрегионгаз».</a:t>
            </a:r>
          </a:p>
        </p:txBody>
      </p:sp>
    </p:spTree>
    <p:extLst>
      <p:ext uri="{BB962C8B-B14F-4D97-AF65-F5344CB8AC3E}">
        <p14:creationId xmlns:p14="http://schemas.microsoft.com/office/powerpoint/2010/main" val="1164739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088217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0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-12990" y="-74513"/>
            <a:ext cx="184731" cy="307777"/>
          </a:xfrm>
          <a:prstGeom prst="rect">
            <a:avLst/>
          </a:prstGeom>
          <a:solidFill>
            <a:scrgbClr r="0" g="0" b="0"/>
          </a:solidFill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b="1" kern="0" dirty="0">
              <a:solidFill>
                <a:prstClr val="white"/>
              </a:solidFill>
              <a:latin typeface="Arial Narrow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2400" b="0" dirty="0" smtClean="0">
                <a:ea typeface="Source Sans Pro Semibold" panose="020B0603030403020204" pitchFamily="34" charset="0"/>
              </a:rPr>
              <a:t>Мероприятия по обеспечению исполнения Программы</a:t>
            </a:r>
            <a:endParaRPr lang="ru-RU" sz="2400" b="0" i="1" dirty="0"/>
          </a:p>
        </p:txBody>
      </p:sp>
      <p:pic>
        <p:nvPicPr>
          <p:cNvPr id="15" name="Picture 7" descr="C:\Documents and Settings\u5200002\Рабочий стол\МРГ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8842" y="12998"/>
            <a:ext cx="1754513" cy="978478"/>
          </a:xfrm>
          <a:prstGeom prst="rect">
            <a:avLst/>
          </a:prstGeom>
          <a:noFill/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2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2054178568"/>
              </p:ext>
            </p:extLst>
          </p:nvPr>
        </p:nvGraphicFramePr>
        <p:xfrm>
          <a:off x="2684206" y="1460091"/>
          <a:ext cx="9129251" cy="45897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25" r="19156"/>
          <a:stretch/>
        </p:blipFill>
        <p:spPr>
          <a:xfrm>
            <a:off x="250730" y="1761695"/>
            <a:ext cx="2271251" cy="3962400"/>
          </a:xfrm>
          <a:prstGeom prst="rect">
            <a:avLst/>
          </a:prstGeom>
        </p:spPr>
      </p:pic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1981698" y="6476316"/>
            <a:ext cx="10125137" cy="382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Этапы реализации программы по расширению использования КПГ на собственном транспорте группы лиц</a:t>
            </a:r>
            <a:b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ООО «Газпром межрегионгаз».</a:t>
            </a:r>
          </a:p>
        </p:txBody>
      </p:sp>
    </p:spTree>
    <p:extLst>
      <p:ext uri="{BB962C8B-B14F-4D97-AF65-F5344CB8AC3E}">
        <p14:creationId xmlns:p14="http://schemas.microsoft.com/office/powerpoint/2010/main" val="3241177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2629710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1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-12990" y="-74513"/>
            <a:ext cx="184731" cy="307777"/>
          </a:xfrm>
          <a:prstGeom prst="rect">
            <a:avLst/>
          </a:prstGeom>
          <a:solidFill>
            <a:scrgbClr r="0" g="0" b="0"/>
          </a:solidFill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b="1" kern="0" dirty="0">
              <a:solidFill>
                <a:prstClr val="white"/>
              </a:solidFill>
              <a:latin typeface="Arial Narrow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5" name="Picture 7" descr="C:\Documents and Settings\u5200002\Рабочий стол\МРГ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8842" y="12998"/>
            <a:ext cx="1754513" cy="978478"/>
          </a:xfrm>
          <a:prstGeom prst="rect">
            <a:avLst/>
          </a:prstGeom>
          <a:noFill/>
        </p:spPr>
      </p:pic>
      <p:sp>
        <p:nvSpPr>
          <p:cNvPr id="6" name="Rectangle 14"/>
          <p:cNvSpPr>
            <a:spLocks noChangeArrowheads="1"/>
          </p:cNvSpPr>
          <p:nvPr/>
        </p:nvSpPr>
        <p:spPr bwMode="auto">
          <a:xfrm>
            <a:off x="2066863" y="6473636"/>
            <a:ext cx="10125137" cy="382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lnSpc>
                <a:spcPts val="1800"/>
              </a:lnSpc>
              <a:defRPr/>
            </a:pPr>
            <a:endParaRPr lang="ru-RU" sz="16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0" name="Rectangle 19"/>
          <p:cNvSpPr>
            <a:spLocks noChangeArrowheads="1"/>
          </p:cNvSpPr>
          <p:nvPr/>
        </p:nvSpPr>
        <p:spPr bwMode="auto">
          <a:xfrm>
            <a:off x="1949486" y="2720096"/>
            <a:ext cx="10242516" cy="3713162"/>
          </a:xfrm>
          <a:prstGeom prst="rect">
            <a:avLst/>
          </a:prstGeom>
          <a:solidFill>
            <a:srgbClr val="0066CC"/>
          </a:solidFill>
          <a:ln w="9525" algn="ctr">
            <a:noFill/>
            <a:miter lim="800000"/>
            <a:headEnd/>
            <a:tailEnd/>
          </a:ln>
        </p:spPr>
        <p:txBody>
          <a:bodyPr wrap="none" lIns="180000" tIns="0" rIns="0" bIns="0" anchor="ctr"/>
          <a:lstStyle/>
          <a:p>
            <a:pPr fontAlgn="base">
              <a:spcBef>
                <a:spcPts val="1200"/>
              </a:spcBef>
              <a:spcAft>
                <a:spcPts val="1200"/>
              </a:spcAft>
            </a:pPr>
            <a:r>
              <a:rPr lang="ru-RU" sz="2000" dirty="0" smtClean="0">
                <a:solidFill>
                  <a:srgbClr val="FFFFFF"/>
                </a:solidFill>
              </a:rPr>
              <a:t>Филинов Алексей Викторович</a:t>
            </a:r>
            <a:endParaRPr lang="ru-RU" sz="2000" dirty="0">
              <a:solidFill>
                <a:srgbClr val="FFFFFF"/>
              </a:solidFill>
            </a:endParaRPr>
          </a:p>
          <a:p>
            <a:pPr fontAlgn="base">
              <a:spcBef>
                <a:spcPts val="1200"/>
              </a:spcBef>
              <a:spcAft>
                <a:spcPts val="1200"/>
              </a:spcAft>
            </a:pPr>
            <a:r>
              <a:rPr lang="ru-RU" sz="2000" dirty="0" smtClean="0">
                <a:solidFill>
                  <a:srgbClr val="FFFFFF"/>
                </a:solidFill>
              </a:rPr>
              <a:t>Начальник </a:t>
            </a:r>
            <a:br>
              <a:rPr lang="ru-RU" sz="2000" dirty="0" smtClean="0">
                <a:solidFill>
                  <a:srgbClr val="FFFFFF"/>
                </a:solidFill>
              </a:rPr>
            </a:br>
            <a:r>
              <a:rPr lang="ru-RU" sz="2000" dirty="0" smtClean="0">
                <a:solidFill>
                  <a:srgbClr val="FFFFFF"/>
                </a:solidFill>
              </a:rPr>
              <a:t>управления </a:t>
            </a:r>
            <a:r>
              <a:rPr lang="ru-RU" sz="2000" dirty="0">
                <a:solidFill>
                  <a:srgbClr val="FFFFFF"/>
                </a:solidFill>
              </a:rPr>
              <a:t>стандартизации и технического развития</a:t>
            </a:r>
            <a:br>
              <a:rPr lang="ru-RU" sz="2000" dirty="0">
                <a:solidFill>
                  <a:srgbClr val="FFFFFF"/>
                </a:solidFill>
              </a:rPr>
            </a:br>
            <a:r>
              <a:rPr lang="ru-RU" sz="2000" dirty="0">
                <a:solidFill>
                  <a:srgbClr val="FFFFFF"/>
                </a:solidFill>
              </a:rPr>
              <a:t>ООО «Газпром межрегионгаз»</a:t>
            </a:r>
          </a:p>
          <a:p>
            <a:pPr>
              <a:lnSpc>
                <a:spcPct val="200000"/>
              </a:lnSpc>
            </a:pPr>
            <a:r>
              <a:rPr lang="ru-RU" sz="2000" dirty="0" smtClean="0">
                <a:solidFill>
                  <a:schemeClr val="bg1"/>
                </a:solidFill>
                <a:latin typeface="Arial Narrow" pitchFamily="34" charset="0"/>
              </a:rPr>
              <a:t>Тел.: +7 (812) 609 51 05</a:t>
            </a:r>
          </a:p>
          <a:p>
            <a:pPr>
              <a:lnSpc>
                <a:spcPct val="200000"/>
              </a:lnSpc>
            </a:pPr>
            <a:r>
              <a:rPr lang="en-US" sz="2000" dirty="0" smtClean="0">
                <a:solidFill>
                  <a:schemeClr val="bg1"/>
                </a:solidFill>
                <a:latin typeface="Arial Narrow" pitchFamily="34" charset="0"/>
              </a:rPr>
              <a:t>E-mail: </a:t>
            </a:r>
            <a:r>
              <a:rPr lang="en-US" sz="2000" dirty="0" smtClean="0">
                <a:solidFill>
                  <a:srgbClr val="FFFFFF"/>
                </a:solidFill>
              </a:rPr>
              <a:t>U93020</a:t>
            </a:r>
            <a:r>
              <a:rPr lang="ru-RU" sz="2000" dirty="0" smtClean="0">
                <a:solidFill>
                  <a:srgbClr val="FFFFFF"/>
                </a:solidFill>
              </a:rPr>
              <a:t>1</a:t>
            </a:r>
            <a:r>
              <a:rPr lang="en-US" sz="2000" dirty="0" smtClean="0">
                <a:solidFill>
                  <a:srgbClr val="FFFFFF"/>
                </a:solidFill>
              </a:rPr>
              <a:t>1</a:t>
            </a:r>
            <a:r>
              <a:rPr lang="en-US" sz="2000" dirty="0" smtClean="0">
                <a:solidFill>
                  <a:schemeClr val="bg1"/>
                </a:solidFill>
                <a:latin typeface="Arial Narrow" pitchFamily="34" charset="0"/>
              </a:rPr>
              <a:t>@mrg.gazprom.ru</a:t>
            </a:r>
            <a:endParaRPr lang="ru-RU" sz="20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1" name="Text Box 20"/>
          <p:cNvSpPr txBox="1">
            <a:spLocks noChangeArrowheads="1"/>
          </p:cNvSpPr>
          <p:nvPr/>
        </p:nvSpPr>
        <p:spPr bwMode="auto">
          <a:xfrm>
            <a:off x="1837879" y="1603594"/>
            <a:ext cx="3739093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600" b="1" dirty="0">
                <a:solidFill>
                  <a:srgbClr val="003366"/>
                </a:solidFill>
                <a:latin typeface="Arial Narrow" pitchFamily="34" charset="0"/>
              </a:rPr>
              <a:t>СПАСИБО ЗА ВНИМАНИЕ</a:t>
            </a:r>
          </a:p>
        </p:txBody>
      </p:sp>
    </p:spTree>
    <p:extLst>
      <p:ext uri="{BB962C8B-B14F-4D97-AF65-F5344CB8AC3E}">
        <p14:creationId xmlns:p14="http://schemas.microsoft.com/office/powerpoint/2010/main" val="976058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6788" y="1363979"/>
            <a:ext cx="4547287" cy="4547287"/>
          </a:xfrm>
          <a:prstGeom prst="rect">
            <a:avLst/>
          </a:prstGeom>
        </p:spPr>
      </p:pic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1448208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53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-12990" y="-74513"/>
            <a:ext cx="184731" cy="307777"/>
          </a:xfrm>
          <a:prstGeom prst="rect">
            <a:avLst/>
          </a:prstGeom>
          <a:solidFill>
            <a:scrgbClr r="0" g="0" b="0"/>
          </a:solidFill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b="1" kern="0" dirty="0">
              <a:solidFill>
                <a:prstClr val="white"/>
              </a:solidFill>
              <a:latin typeface="Arial Narrow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2400" b="0" dirty="0" smtClean="0">
                <a:ea typeface="Source Sans Pro Semibold" panose="020B0603030403020204" pitchFamily="34" charset="0"/>
              </a:rPr>
              <a:t>Цели реализации Программы</a:t>
            </a:r>
            <a:endParaRPr lang="ru-RU" sz="2400" b="0" i="1" dirty="0"/>
          </a:p>
        </p:txBody>
      </p:sp>
      <p:pic>
        <p:nvPicPr>
          <p:cNvPr id="15" name="Picture 7" descr="C:\Documents and Settings\u5200002\Рабочий стол\МРГ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8842" y="12998"/>
            <a:ext cx="1754513" cy="978478"/>
          </a:xfrm>
          <a:prstGeom prst="rect">
            <a:avLst/>
          </a:prstGeom>
          <a:noFill/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2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422097106"/>
              </p:ext>
            </p:extLst>
          </p:nvPr>
        </p:nvGraphicFramePr>
        <p:xfrm>
          <a:off x="3270833" y="2049780"/>
          <a:ext cx="8332101" cy="32329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3" name="Rectangle 14"/>
          <p:cNvSpPr>
            <a:spLocks noChangeArrowheads="1"/>
          </p:cNvSpPr>
          <p:nvPr/>
        </p:nvSpPr>
        <p:spPr bwMode="auto">
          <a:xfrm>
            <a:off x="2066863" y="6473636"/>
            <a:ext cx="10125137" cy="382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Этапы реализации программы по расширению использования КПГ на собственном транспорте группы лиц</a:t>
            </a:r>
            <a:b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ООО «Газпром межрегионгаз».</a:t>
            </a:r>
          </a:p>
        </p:txBody>
      </p:sp>
    </p:spTree>
    <p:extLst>
      <p:ext uri="{BB962C8B-B14F-4D97-AF65-F5344CB8AC3E}">
        <p14:creationId xmlns:p14="http://schemas.microsoft.com/office/powerpoint/2010/main" val="2674067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Диаграмма 12"/>
          <p:cNvGraphicFramePr/>
          <p:nvPr>
            <p:extLst>
              <p:ext uri="{D42A27DB-BD31-4B8C-83A1-F6EECF244321}">
                <p14:modId xmlns:p14="http://schemas.microsoft.com/office/powerpoint/2010/main" val="2673074854"/>
              </p:ext>
            </p:extLst>
          </p:nvPr>
        </p:nvGraphicFramePr>
        <p:xfrm>
          <a:off x="0" y="1596038"/>
          <a:ext cx="12192000" cy="548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4" name="Диаграмма 13"/>
          <p:cNvGraphicFramePr/>
          <p:nvPr>
            <p:extLst>
              <p:ext uri="{D42A27DB-BD31-4B8C-83A1-F6EECF244321}">
                <p14:modId xmlns:p14="http://schemas.microsoft.com/office/powerpoint/2010/main" val="2640707102"/>
              </p:ext>
            </p:extLst>
          </p:nvPr>
        </p:nvGraphicFramePr>
        <p:xfrm>
          <a:off x="0" y="1562451"/>
          <a:ext cx="12191998" cy="54821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8287802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1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-12990" y="-74513"/>
            <a:ext cx="184731" cy="307777"/>
          </a:xfrm>
          <a:prstGeom prst="rect">
            <a:avLst/>
          </a:prstGeom>
          <a:solidFill>
            <a:scrgbClr r="0" g="0" b="0"/>
          </a:solidFill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b="1" kern="0" dirty="0">
              <a:solidFill>
                <a:prstClr val="white"/>
              </a:solidFill>
              <a:latin typeface="Arial Narrow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2400" b="0" dirty="0" smtClean="0">
                <a:ea typeface="Source Sans Pro Semibold" panose="020B0603030403020204" pitchFamily="34" charset="0"/>
              </a:rPr>
              <a:t>Структура автопарка группы лиц ООО «Газпром межрегионгаз»</a:t>
            </a:r>
            <a:endParaRPr lang="ru-RU" sz="2400" b="0" i="1" dirty="0"/>
          </a:p>
        </p:txBody>
      </p:sp>
      <p:pic>
        <p:nvPicPr>
          <p:cNvPr id="15" name="Picture 7" descr="C:\Documents and Settings\u5200002\Рабочий стол\МРГ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8842" y="12998"/>
            <a:ext cx="1754513" cy="978478"/>
          </a:xfrm>
          <a:prstGeom prst="rect">
            <a:avLst/>
          </a:prstGeom>
          <a:noFill/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2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4" name="TextBox 3"/>
          <p:cNvSpPr txBox="1"/>
          <p:nvPr/>
        </p:nvSpPr>
        <p:spPr>
          <a:xfrm>
            <a:off x="4889395" y="5123663"/>
            <a:ext cx="31437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 smtClean="0"/>
          </a:p>
          <a:p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704298" y="6006068"/>
            <a:ext cx="20977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Легковой транспорт</a:t>
            </a:r>
            <a:endParaRPr lang="ru-RU" dirty="0"/>
          </a:p>
        </p:txBody>
      </p:sp>
      <p:sp>
        <p:nvSpPr>
          <p:cNvPr id="16" name="TextBox 15"/>
          <p:cNvSpPr txBox="1"/>
          <p:nvPr/>
        </p:nvSpPr>
        <p:spPr>
          <a:xfrm>
            <a:off x="3506347" y="6006068"/>
            <a:ext cx="20977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Грузовой транспорт</a:t>
            </a:r>
            <a:endParaRPr lang="ru-RU" dirty="0"/>
          </a:p>
        </p:txBody>
      </p:sp>
      <p:sp>
        <p:nvSpPr>
          <p:cNvPr id="17" name="TextBox 16"/>
          <p:cNvSpPr txBox="1"/>
          <p:nvPr/>
        </p:nvSpPr>
        <p:spPr>
          <a:xfrm>
            <a:off x="6308396" y="6006068"/>
            <a:ext cx="10488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Автобусы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8061569" y="6006068"/>
            <a:ext cx="745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ТМ</a:t>
            </a:r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9511435" y="6006068"/>
            <a:ext cx="745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СТ</a:t>
            </a:r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10961301" y="6006068"/>
            <a:ext cx="1069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рочее</a:t>
            </a:r>
            <a:endParaRPr lang="ru-RU" dirty="0"/>
          </a:p>
        </p:txBody>
      </p:sp>
      <p:sp>
        <p:nvSpPr>
          <p:cNvPr id="6" name="Овал 5"/>
          <p:cNvSpPr/>
          <p:nvPr/>
        </p:nvSpPr>
        <p:spPr>
          <a:xfrm>
            <a:off x="161649" y="5994400"/>
            <a:ext cx="381000" cy="381000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Овал 20"/>
          <p:cNvSpPr/>
          <p:nvPr/>
        </p:nvSpPr>
        <p:spPr>
          <a:xfrm>
            <a:off x="2963698" y="5994400"/>
            <a:ext cx="381000" cy="381000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/>
          <p:cNvSpPr/>
          <p:nvPr/>
        </p:nvSpPr>
        <p:spPr>
          <a:xfrm>
            <a:off x="5765747" y="5994400"/>
            <a:ext cx="381000" cy="381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/>
          <p:cNvSpPr/>
          <p:nvPr/>
        </p:nvSpPr>
        <p:spPr>
          <a:xfrm>
            <a:off x="7518920" y="5994400"/>
            <a:ext cx="381000" cy="381000"/>
          </a:xfrm>
          <a:prstGeom prst="ellipse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/>
          <p:cNvSpPr/>
          <p:nvPr/>
        </p:nvSpPr>
        <p:spPr>
          <a:xfrm>
            <a:off x="10418652" y="5994400"/>
            <a:ext cx="381000" cy="381000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/>
          <p:cNvSpPr/>
          <p:nvPr/>
        </p:nvSpPr>
        <p:spPr>
          <a:xfrm>
            <a:off x="8968786" y="5994400"/>
            <a:ext cx="381000" cy="381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352149" y="1098610"/>
            <a:ext cx="49945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/>
              <a:t>Газораспределительные организации</a:t>
            </a:r>
            <a:endParaRPr lang="ru-RU" sz="2000" dirty="0"/>
          </a:p>
        </p:txBody>
      </p:sp>
      <p:sp>
        <p:nvSpPr>
          <p:cNvPr id="26" name="TextBox 25"/>
          <p:cNvSpPr txBox="1"/>
          <p:nvPr/>
        </p:nvSpPr>
        <p:spPr>
          <a:xfrm>
            <a:off x="7014159" y="1098610"/>
            <a:ext cx="49945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/>
              <a:t>Региональные компании по реализации газа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105114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703354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-12990" y="-74513"/>
            <a:ext cx="184731" cy="307777"/>
          </a:xfrm>
          <a:prstGeom prst="rect">
            <a:avLst/>
          </a:prstGeom>
          <a:solidFill>
            <a:scrgbClr r="0" g="0" b="0"/>
          </a:solidFill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b="1" kern="0" dirty="0">
              <a:solidFill>
                <a:prstClr val="white"/>
              </a:solidFill>
              <a:latin typeface="Arial Narrow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2400" b="0" dirty="0" smtClean="0">
                <a:ea typeface="Source Sans Pro Semibold" panose="020B0603030403020204" pitchFamily="34" charset="0"/>
              </a:rPr>
              <a:t>Программа ООО «Газпром межрегионгаз». </a:t>
            </a:r>
            <a:br>
              <a:rPr lang="ru-RU" sz="2400" b="0" dirty="0" smtClean="0">
                <a:ea typeface="Source Sans Pro Semibold" panose="020B0603030403020204" pitchFamily="34" charset="0"/>
              </a:rPr>
            </a:br>
            <a:r>
              <a:rPr lang="ru-RU" sz="2400" b="0" dirty="0" smtClean="0">
                <a:ea typeface="Source Sans Pro Semibold" panose="020B0603030403020204" pitchFamily="34" charset="0"/>
              </a:rPr>
              <a:t>Критерии выбора ДЗО.</a:t>
            </a:r>
            <a:endParaRPr lang="ru-RU" sz="2400" b="0" i="1" dirty="0"/>
          </a:p>
        </p:txBody>
      </p:sp>
      <p:pic>
        <p:nvPicPr>
          <p:cNvPr id="15" name="Picture 7" descr="C:\Documents and Settings\u5200002\Рабочий стол\МРГ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8842" y="12998"/>
            <a:ext cx="1754513" cy="978478"/>
          </a:xfrm>
          <a:prstGeom prst="rect">
            <a:avLst/>
          </a:prstGeom>
          <a:noFill/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2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1920633406"/>
              </p:ext>
            </p:extLst>
          </p:nvPr>
        </p:nvGraphicFramePr>
        <p:xfrm>
          <a:off x="2962192" y="1371600"/>
          <a:ext cx="8128000" cy="48374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pic>
        <p:nvPicPr>
          <p:cNvPr id="10" name="Рисунок 9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108" y="2637656"/>
            <a:ext cx="2857500" cy="2143125"/>
          </a:xfrm>
          <a:prstGeom prst="rect">
            <a:avLst/>
          </a:prstGeom>
        </p:spPr>
      </p:pic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1978312" y="6475631"/>
            <a:ext cx="10125137" cy="382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Этапы реализации программы по расширению использования КПГ на собственном транспорте группы лиц</a:t>
            </a:r>
            <a:b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ООО «Газпром межрегионгаз».</a:t>
            </a:r>
          </a:p>
        </p:txBody>
      </p:sp>
    </p:spTree>
    <p:extLst>
      <p:ext uri="{BB962C8B-B14F-4D97-AF65-F5344CB8AC3E}">
        <p14:creationId xmlns:p14="http://schemas.microsoft.com/office/powerpoint/2010/main" val="3750480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4"/>
          <p:cNvSpPr>
            <a:spLocks noChangeAspect="1"/>
          </p:cNvSpPr>
          <p:nvPr/>
        </p:nvSpPr>
        <p:spPr bwMode="auto">
          <a:xfrm>
            <a:off x="5751070" y="2285999"/>
            <a:ext cx="1384300" cy="3095625"/>
          </a:xfrm>
          <a:custGeom>
            <a:avLst/>
            <a:gdLst>
              <a:gd name="T0" fmla="*/ 2147483647 w 153"/>
              <a:gd name="T1" fmla="*/ 2147483647 h 342"/>
              <a:gd name="T2" fmla="*/ 2147483647 w 153"/>
              <a:gd name="T3" fmla="*/ 2147483647 h 342"/>
              <a:gd name="T4" fmla="*/ 2147483647 w 153"/>
              <a:gd name="T5" fmla="*/ 2147483647 h 342"/>
              <a:gd name="T6" fmla="*/ 2147483647 w 153"/>
              <a:gd name="T7" fmla="*/ 2147483647 h 342"/>
              <a:gd name="T8" fmla="*/ 2147483647 w 153"/>
              <a:gd name="T9" fmla="*/ 2147483647 h 342"/>
              <a:gd name="T10" fmla="*/ 2147483647 w 153"/>
              <a:gd name="T11" fmla="*/ 2147483647 h 342"/>
              <a:gd name="T12" fmla="*/ 2147483647 w 153"/>
              <a:gd name="T13" fmla="*/ 2147483647 h 342"/>
              <a:gd name="T14" fmla="*/ 2147483647 w 153"/>
              <a:gd name="T15" fmla="*/ 2147483647 h 342"/>
              <a:gd name="T16" fmla="*/ 2147483647 w 153"/>
              <a:gd name="T17" fmla="*/ 2147483647 h 342"/>
              <a:gd name="T18" fmla="*/ 2147483647 w 153"/>
              <a:gd name="T19" fmla="*/ 2147483647 h 342"/>
              <a:gd name="T20" fmla="*/ 2147483647 w 153"/>
              <a:gd name="T21" fmla="*/ 2147483647 h 342"/>
              <a:gd name="T22" fmla="*/ 2147483647 w 153"/>
              <a:gd name="T23" fmla="*/ 2147483647 h 342"/>
              <a:gd name="T24" fmla="*/ 2147483647 w 153"/>
              <a:gd name="T25" fmla="*/ 2147483647 h 342"/>
              <a:gd name="T26" fmla="*/ 2147483647 w 153"/>
              <a:gd name="T27" fmla="*/ 2147483647 h 342"/>
              <a:gd name="T28" fmla="*/ 2147483647 w 153"/>
              <a:gd name="T29" fmla="*/ 2147483647 h 342"/>
              <a:gd name="T30" fmla="*/ 2147483647 w 153"/>
              <a:gd name="T31" fmla="*/ 2147483647 h 342"/>
              <a:gd name="T32" fmla="*/ 2147483647 w 153"/>
              <a:gd name="T33" fmla="*/ 2147483647 h 342"/>
              <a:gd name="T34" fmla="*/ 2147483647 w 153"/>
              <a:gd name="T35" fmla="*/ 2147483647 h 342"/>
              <a:gd name="T36" fmla="*/ 2147483647 w 153"/>
              <a:gd name="T37" fmla="*/ 2147483647 h 342"/>
              <a:gd name="T38" fmla="*/ 2147483647 w 153"/>
              <a:gd name="T39" fmla="*/ 2147483647 h 342"/>
              <a:gd name="T40" fmla="*/ 2147483647 w 153"/>
              <a:gd name="T41" fmla="*/ 2147483647 h 342"/>
              <a:gd name="T42" fmla="*/ 2147483647 w 153"/>
              <a:gd name="T43" fmla="*/ 2147483647 h 342"/>
              <a:gd name="T44" fmla="*/ 2147483647 w 153"/>
              <a:gd name="T45" fmla="*/ 2147483647 h 342"/>
              <a:gd name="T46" fmla="*/ 2147483647 w 153"/>
              <a:gd name="T47" fmla="*/ 2147483647 h 342"/>
              <a:gd name="T48" fmla="*/ 2147483647 w 153"/>
              <a:gd name="T49" fmla="*/ 2147483647 h 342"/>
              <a:gd name="T50" fmla="*/ 2147483647 w 153"/>
              <a:gd name="T51" fmla="*/ 2147483647 h 342"/>
              <a:gd name="T52" fmla="*/ 2147483647 w 153"/>
              <a:gd name="T53" fmla="*/ 2147483647 h 342"/>
              <a:gd name="T54" fmla="*/ 2147483647 w 153"/>
              <a:gd name="T55" fmla="*/ 2147483647 h 342"/>
              <a:gd name="T56" fmla="*/ 2147483647 w 153"/>
              <a:gd name="T57" fmla="*/ 2147483647 h 342"/>
              <a:gd name="T58" fmla="*/ 2147483647 w 153"/>
              <a:gd name="T59" fmla="*/ 2147483647 h 342"/>
              <a:gd name="T60" fmla="*/ 2147483647 w 153"/>
              <a:gd name="T61" fmla="*/ 2147483647 h 342"/>
              <a:gd name="T62" fmla="*/ 2147483647 w 153"/>
              <a:gd name="T63" fmla="*/ 2147483647 h 342"/>
              <a:gd name="T64" fmla="*/ 2147483647 w 153"/>
              <a:gd name="T65" fmla="*/ 2147483647 h 342"/>
              <a:gd name="T66" fmla="*/ 2147483647 w 153"/>
              <a:gd name="T67" fmla="*/ 2147483647 h 342"/>
              <a:gd name="T68" fmla="*/ 2147483647 w 153"/>
              <a:gd name="T69" fmla="*/ 2147483647 h 342"/>
              <a:gd name="T70" fmla="*/ 2147483647 w 153"/>
              <a:gd name="T71" fmla="*/ 2147483647 h 342"/>
              <a:gd name="T72" fmla="*/ 2147483647 w 153"/>
              <a:gd name="T73" fmla="*/ 2147483647 h 342"/>
              <a:gd name="T74" fmla="*/ 2147483647 w 153"/>
              <a:gd name="T75" fmla="*/ 2147483647 h 342"/>
              <a:gd name="T76" fmla="*/ 2147483647 w 153"/>
              <a:gd name="T77" fmla="*/ 2147483647 h 342"/>
              <a:gd name="T78" fmla="*/ 2147483647 w 153"/>
              <a:gd name="T79" fmla="*/ 2147483647 h 342"/>
              <a:gd name="T80" fmla="*/ 2147483647 w 153"/>
              <a:gd name="T81" fmla="*/ 2147483647 h 342"/>
              <a:gd name="T82" fmla="*/ 2147483647 w 153"/>
              <a:gd name="T83" fmla="*/ 2147483647 h 342"/>
              <a:gd name="T84" fmla="*/ 2147483647 w 153"/>
              <a:gd name="T85" fmla="*/ 2147483647 h 342"/>
              <a:gd name="T86" fmla="*/ 2147483647 w 153"/>
              <a:gd name="T87" fmla="*/ 2147483647 h 342"/>
              <a:gd name="T88" fmla="*/ 2147483647 w 153"/>
              <a:gd name="T89" fmla="*/ 2147483647 h 342"/>
              <a:gd name="T90" fmla="*/ 2147483647 w 153"/>
              <a:gd name="T91" fmla="*/ 2147483647 h 342"/>
              <a:gd name="T92" fmla="*/ 2147483647 w 153"/>
              <a:gd name="T93" fmla="*/ 2147483647 h 342"/>
              <a:gd name="T94" fmla="*/ 2147483647 w 153"/>
              <a:gd name="T95" fmla="*/ 2147483647 h 342"/>
              <a:gd name="T96" fmla="*/ 2147483647 w 153"/>
              <a:gd name="T97" fmla="*/ 2147483647 h 342"/>
              <a:gd name="T98" fmla="*/ 2147483647 w 153"/>
              <a:gd name="T99" fmla="*/ 2147483647 h 342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53"/>
              <a:gd name="T151" fmla="*/ 0 h 342"/>
              <a:gd name="T152" fmla="*/ 153 w 153"/>
              <a:gd name="T153" fmla="*/ 342 h 342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53" h="342">
                <a:moveTo>
                  <a:pt x="117" y="248"/>
                </a:moveTo>
                <a:lnTo>
                  <a:pt x="118" y="254"/>
                </a:lnTo>
                <a:lnTo>
                  <a:pt x="107" y="265"/>
                </a:lnTo>
                <a:lnTo>
                  <a:pt x="107" y="272"/>
                </a:lnTo>
                <a:lnTo>
                  <a:pt x="104" y="272"/>
                </a:lnTo>
                <a:lnTo>
                  <a:pt x="100" y="263"/>
                </a:lnTo>
                <a:lnTo>
                  <a:pt x="97" y="268"/>
                </a:lnTo>
                <a:lnTo>
                  <a:pt x="86" y="266"/>
                </a:lnTo>
                <a:lnTo>
                  <a:pt x="82" y="277"/>
                </a:lnTo>
                <a:lnTo>
                  <a:pt x="87" y="284"/>
                </a:lnTo>
                <a:lnTo>
                  <a:pt x="85" y="289"/>
                </a:lnTo>
                <a:lnTo>
                  <a:pt x="80" y="289"/>
                </a:lnTo>
                <a:lnTo>
                  <a:pt x="78" y="295"/>
                </a:lnTo>
                <a:lnTo>
                  <a:pt x="77" y="307"/>
                </a:lnTo>
                <a:lnTo>
                  <a:pt x="71" y="307"/>
                </a:lnTo>
                <a:lnTo>
                  <a:pt x="68" y="311"/>
                </a:lnTo>
                <a:lnTo>
                  <a:pt x="72" y="317"/>
                </a:lnTo>
                <a:lnTo>
                  <a:pt x="78" y="320"/>
                </a:lnTo>
                <a:lnTo>
                  <a:pt x="75" y="323"/>
                </a:lnTo>
                <a:lnTo>
                  <a:pt x="62" y="323"/>
                </a:lnTo>
                <a:lnTo>
                  <a:pt x="60" y="330"/>
                </a:lnTo>
                <a:lnTo>
                  <a:pt x="58" y="330"/>
                </a:lnTo>
                <a:lnTo>
                  <a:pt x="57" y="334"/>
                </a:lnTo>
                <a:lnTo>
                  <a:pt x="53" y="336"/>
                </a:lnTo>
                <a:lnTo>
                  <a:pt x="52" y="340"/>
                </a:lnTo>
                <a:lnTo>
                  <a:pt x="47" y="342"/>
                </a:lnTo>
                <a:lnTo>
                  <a:pt x="38" y="342"/>
                </a:lnTo>
                <a:lnTo>
                  <a:pt x="32" y="342"/>
                </a:lnTo>
                <a:lnTo>
                  <a:pt x="27" y="337"/>
                </a:lnTo>
                <a:lnTo>
                  <a:pt x="31" y="330"/>
                </a:lnTo>
                <a:lnTo>
                  <a:pt x="35" y="330"/>
                </a:lnTo>
                <a:lnTo>
                  <a:pt x="36" y="328"/>
                </a:lnTo>
                <a:lnTo>
                  <a:pt x="36" y="324"/>
                </a:lnTo>
                <a:lnTo>
                  <a:pt x="39" y="324"/>
                </a:lnTo>
                <a:lnTo>
                  <a:pt x="41" y="322"/>
                </a:lnTo>
                <a:lnTo>
                  <a:pt x="40" y="319"/>
                </a:lnTo>
                <a:lnTo>
                  <a:pt x="39" y="316"/>
                </a:lnTo>
                <a:lnTo>
                  <a:pt x="38" y="309"/>
                </a:lnTo>
                <a:lnTo>
                  <a:pt x="36" y="307"/>
                </a:lnTo>
                <a:lnTo>
                  <a:pt x="34" y="305"/>
                </a:lnTo>
                <a:lnTo>
                  <a:pt x="34" y="302"/>
                </a:lnTo>
                <a:lnTo>
                  <a:pt x="35" y="301"/>
                </a:lnTo>
                <a:lnTo>
                  <a:pt x="35" y="299"/>
                </a:lnTo>
                <a:lnTo>
                  <a:pt x="28" y="299"/>
                </a:lnTo>
                <a:lnTo>
                  <a:pt x="24" y="299"/>
                </a:lnTo>
                <a:lnTo>
                  <a:pt x="22" y="295"/>
                </a:lnTo>
                <a:lnTo>
                  <a:pt x="20" y="290"/>
                </a:lnTo>
                <a:lnTo>
                  <a:pt x="24" y="289"/>
                </a:lnTo>
                <a:lnTo>
                  <a:pt x="25" y="285"/>
                </a:lnTo>
                <a:lnTo>
                  <a:pt x="21" y="281"/>
                </a:lnTo>
                <a:lnTo>
                  <a:pt x="21" y="276"/>
                </a:lnTo>
                <a:lnTo>
                  <a:pt x="21" y="269"/>
                </a:lnTo>
                <a:lnTo>
                  <a:pt x="24" y="267"/>
                </a:lnTo>
                <a:lnTo>
                  <a:pt x="28" y="265"/>
                </a:lnTo>
                <a:lnTo>
                  <a:pt x="29" y="263"/>
                </a:lnTo>
                <a:lnTo>
                  <a:pt x="24" y="261"/>
                </a:lnTo>
                <a:lnTo>
                  <a:pt x="20" y="258"/>
                </a:lnTo>
                <a:lnTo>
                  <a:pt x="20" y="252"/>
                </a:lnTo>
                <a:lnTo>
                  <a:pt x="25" y="247"/>
                </a:lnTo>
                <a:lnTo>
                  <a:pt x="25" y="244"/>
                </a:lnTo>
                <a:lnTo>
                  <a:pt x="23" y="244"/>
                </a:lnTo>
                <a:lnTo>
                  <a:pt x="20" y="238"/>
                </a:lnTo>
                <a:lnTo>
                  <a:pt x="17" y="233"/>
                </a:lnTo>
                <a:lnTo>
                  <a:pt x="13" y="233"/>
                </a:lnTo>
                <a:lnTo>
                  <a:pt x="8" y="233"/>
                </a:lnTo>
                <a:lnTo>
                  <a:pt x="2" y="233"/>
                </a:lnTo>
                <a:lnTo>
                  <a:pt x="0" y="229"/>
                </a:lnTo>
                <a:lnTo>
                  <a:pt x="3" y="228"/>
                </a:lnTo>
                <a:lnTo>
                  <a:pt x="4" y="225"/>
                </a:lnTo>
                <a:lnTo>
                  <a:pt x="3" y="222"/>
                </a:lnTo>
                <a:lnTo>
                  <a:pt x="0" y="217"/>
                </a:lnTo>
                <a:lnTo>
                  <a:pt x="8" y="215"/>
                </a:lnTo>
                <a:lnTo>
                  <a:pt x="13" y="215"/>
                </a:lnTo>
                <a:lnTo>
                  <a:pt x="13" y="211"/>
                </a:lnTo>
                <a:lnTo>
                  <a:pt x="6" y="207"/>
                </a:lnTo>
                <a:lnTo>
                  <a:pt x="8" y="199"/>
                </a:lnTo>
                <a:lnTo>
                  <a:pt x="14" y="190"/>
                </a:lnTo>
                <a:lnTo>
                  <a:pt x="13" y="183"/>
                </a:lnTo>
                <a:lnTo>
                  <a:pt x="21" y="177"/>
                </a:lnTo>
                <a:lnTo>
                  <a:pt x="20" y="171"/>
                </a:lnTo>
                <a:lnTo>
                  <a:pt x="13" y="166"/>
                </a:lnTo>
                <a:lnTo>
                  <a:pt x="14" y="158"/>
                </a:lnTo>
                <a:lnTo>
                  <a:pt x="10" y="154"/>
                </a:lnTo>
                <a:lnTo>
                  <a:pt x="10" y="147"/>
                </a:lnTo>
                <a:lnTo>
                  <a:pt x="12" y="143"/>
                </a:lnTo>
                <a:lnTo>
                  <a:pt x="8" y="139"/>
                </a:lnTo>
                <a:lnTo>
                  <a:pt x="8" y="133"/>
                </a:lnTo>
                <a:lnTo>
                  <a:pt x="6" y="126"/>
                </a:lnTo>
                <a:lnTo>
                  <a:pt x="11" y="124"/>
                </a:lnTo>
                <a:lnTo>
                  <a:pt x="15" y="118"/>
                </a:lnTo>
                <a:lnTo>
                  <a:pt x="14" y="108"/>
                </a:lnTo>
                <a:lnTo>
                  <a:pt x="8" y="108"/>
                </a:lnTo>
                <a:lnTo>
                  <a:pt x="2" y="103"/>
                </a:lnTo>
                <a:lnTo>
                  <a:pt x="3" y="96"/>
                </a:lnTo>
                <a:lnTo>
                  <a:pt x="11" y="90"/>
                </a:lnTo>
                <a:lnTo>
                  <a:pt x="13" y="84"/>
                </a:lnTo>
                <a:lnTo>
                  <a:pt x="10" y="80"/>
                </a:lnTo>
                <a:lnTo>
                  <a:pt x="10" y="75"/>
                </a:lnTo>
                <a:lnTo>
                  <a:pt x="13" y="74"/>
                </a:lnTo>
                <a:lnTo>
                  <a:pt x="10" y="66"/>
                </a:lnTo>
                <a:lnTo>
                  <a:pt x="15" y="65"/>
                </a:lnTo>
                <a:lnTo>
                  <a:pt x="20" y="69"/>
                </a:lnTo>
                <a:lnTo>
                  <a:pt x="21" y="75"/>
                </a:lnTo>
                <a:lnTo>
                  <a:pt x="28" y="75"/>
                </a:lnTo>
                <a:lnTo>
                  <a:pt x="25" y="72"/>
                </a:lnTo>
                <a:lnTo>
                  <a:pt x="26" y="69"/>
                </a:lnTo>
                <a:lnTo>
                  <a:pt x="20" y="66"/>
                </a:lnTo>
                <a:lnTo>
                  <a:pt x="22" y="60"/>
                </a:lnTo>
                <a:lnTo>
                  <a:pt x="21" y="53"/>
                </a:lnTo>
                <a:lnTo>
                  <a:pt x="23" y="50"/>
                </a:lnTo>
                <a:lnTo>
                  <a:pt x="30" y="50"/>
                </a:lnTo>
                <a:lnTo>
                  <a:pt x="39" y="51"/>
                </a:lnTo>
                <a:lnTo>
                  <a:pt x="49" y="51"/>
                </a:lnTo>
                <a:lnTo>
                  <a:pt x="47" y="46"/>
                </a:lnTo>
                <a:lnTo>
                  <a:pt x="46" y="39"/>
                </a:lnTo>
                <a:lnTo>
                  <a:pt x="48" y="36"/>
                </a:lnTo>
                <a:lnTo>
                  <a:pt x="52" y="33"/>
                </a:lnTo>
                <a:lnTo>
                  <a:pt x="58" y="34"/>
                </a:lnTo>
                <a:lnTo>
                  <a:pt x="64" y="28"/>
                </a:lnTo>
                <a:lnTo>
                  <a:pt x="75" y="28"/>
                </a:lnTo>
                <a:lnTo>
                  <a:pt x="75" y="23"/>
                </a:lnTo>
                <a:lnTo>
                  <a:pt x="83" y="21"/>
                </a:lnTo>
                <a:lnTo>
                  <a:pt x="84" y="25"/>
                </a:lnTo>
                <a:lnTo>
                  <a:pt x="91" y="26"/>
                </a:lnTo>
                <a:lnTo>
                  <a:pt x="91" y="24"/>
                </a:lnTo>
                <a:lnTo>
                  <a:pt x="96" y="26"/>
                </a:lnTo>
                <a:lnTo>
                  <a:pt x="94" y="17"/>
                </a:lnTo>
                <a:lnTo>
                  <a:pt x="100" y="19"/>
                </a:lnTo>
                <a:lnTo>
                  <a:pt x="100" y="13"/>
                </a:lnTo>
                <a:lnTo>
                  <a:pt x="105" y="1"/>
                </a:lnTo>
                <a:lnTo>
                  <a:pt x="111" y="0"/>
                </a:lnTo>
                <a:lnTo>
                  <a:pt x="117" y="5"/>
                </a:lnTo>
                <a:lnTo>
                  <a:pt x="113" y="9"/>
                </a:lnTo>
                <a:lnTo>
                  <a:pt x="120" y="10"/>
                </a:lnTo>
                <a:lnTo>
                  <a:pt x="121" y="12"/>
                </a:lnTo>
                <a:lnTo>
                  <a:pt x="118" y="16"/>
                </a:lnTo>
                <a:lnTo>
                  <a:pt x="122" y="17"/>
                </a:lnTo>
                <a:lnTo>
                  <a:pt x="125" y="12"/>
                </a:lnTo>
                <a:lnTo>
                  <a:pt x="134" y="12"/>
                </a:lnTo>
                <a:lnTo>
                  <a:pt x="141" y="17"/>
                </a:lnTo>
                <a:lnTo>
                  <a:pt x="145" y="26"/>
                </a:lnTo>
                <a:lnTo>
                  <a:pt x="140" y="38"/>
                </a:lnTo>
                <a:lnTo>
                  <a:pt x="134" y="48"/>
                </a:lnTo>
                <a:lnTo>
                  <a:pt x="128" y="56"/>
                </a:lnTo>
                <a:lnTo>
                  <a:pt x="121" y="63"/>
                </a:lnTo>
                <a:lnTo>
                  <a:pt x="120" y="69"/>
                </a:lnTo>
                <a:lnTo>
                  <a:pt x="122" y="69"/>
                </a:lnTo>
                <a:lnTo>
                  <a:pt x="124" y="63"/>
                </a:lnTo>
                <a:lnTo>
                  <a:pt x="134" y="58"/>
                </a:lnTo>
                <a:lnTo>
                  <a:pt x="140" y="55"/>
                </a:lnTo>
                <a:lnTo>
                  <a:pt x="139" y="61"/>
                </a:lnTo>
                <a:lnTo>
                  <a:pt x="142" y="63"/>
                </a:lnTo>
                <a:lnTo>
                  <a:pt x="142" y="69"/>
                </a:lnTo>
                <a:lnTo>
                  <a:pt x="147" y="75"/>
                </a:lnTo>
                <a:lnTo>
                  <a:pt x="149" y="84"/>
                </a:lnTo>
                <a:lnTo>
                  <a:pt x="153" y="85"/>
                </a:lnTo>
                <a:lnTo>
                  <a:pt x="153" y="88"/>
                </a:lnTo>
                <a:lnTo>
                  <a:pt x="144" y="93"/>
                </a:lnTo>
                <a:lnTo>
                  <a:pt x="143" y="99"/>
                </a:lnTo>
                <a:lnTo>
                  <a:pt x="140" y="101"/>
                </a:lnTo>
                <a:lnTo>
                  <a:pt x="141" y="107"/>
                </a:lnTo>
                <a:lnTo>
                  <a:pt x="137" y="106"/>
                </a:lnTo>
                <a:lnTo>
                  <a:pt x="126" y="113"/>
                </a:lnTo>
                <a:lnTo>
                  <a:pt x="133" y="121"/>
                </a:lnTo>
                <a:lnTo>
                  <a:pt x="134" y="143"/>
                </a:lnTo>
                <a:lnTo>
                  <a:pt x="130" y="147"/>
                </a:lnTo>
                <a:lnTo>
                  <a:pt x="132" y="151"/>
                </a:lnTo>
                <a:lnTo>
                  <a:pt x="132" y="156"/>
                </a:lnTo>
                <a:lnTo>
                  <a:pt x="134" y="159"/>
                </a:lnTo>
                <a:lnTo>
                  <a:pt x="134" y="163"/>
                </a:lnTo>
                <a:lnTo>
                  <a:pt x="139" y="165"/>
                </a:lnTo>
                <a:lnTo>
                  <a:pt x="132" y="172"/>
                </a:lnTo>
                <a:lnTo>
                  <a:pt x="132" y="178"/>
                </a:lnTo>
                <a:lnTo>
                  <a:pt x="138" y="177"/>
                </a:lnTo>
                <a:lnTo>
                  <a:pt x="140" y="180"/>
                </a:lnTo>
                <a:lnTo>
                  <a:pt x="142" y="180"/>
                </a:lnTo>
                <a:lnTo>
                  <a:pt x="145" y="177"/>
                </a:lnTo>
                <a:lnTo>
                  <a:pt x="147" y="180"/>
                </a:lnTo>
                <a:lnTo>
                  <a:pt x="142" y="183"/>
                </a:lnTo>
                <a:lnTo>
                  <a:pt x="137" y="183"/>
                </a:lnTo>
                <a:lnTo>
                  <a:pt x="136" y="189"/>
                </a:lnTo>
                <a:lnTo>
                  <a:pt x="138" y="192"/>
                </a:lnTo>
                <a:lnTo>
                  <a:pt x="135" y="198"/>
                </a:lnTo>
                <a:lnTo>
                  <a:pt x="139" y="202"/>
                </a:lnTo>
                <a:lnTo>
                  <a:pt x="137" y="212"/>
                </a:lnTo>
                <a:lnTo>
                  <a:pt x="135" y="217"/>
                </a:lnTo>
                <a:lnTo>
                  <a:pt x="128" y="219"/>
                </a:lnTo>
                <a:lnTo>
                  <a:pt x="128" y="221"/>
                </a:lnTo>
                <a:lnTo>
                  <a:pt x="131" y="221"/>
                </a:lnTo>
                <a:lnTo>
                  <a:pt x="128" y="226"/>
                </a:lnTo>
                <a:lnTo>
                  <a:pt x="131" y="232"/>
                </a:lnTo>
                <a:lnTo>
                  <a:pt x="136" y="233"/>
                </a:lnTo>
                <a:lnTo>
                  <a:pt x="136" y="237"/>
                </a:lnTo>
                <a:lnTo>
                  <a:pt x="132" y="240"/>
                </a:lnTo>
                <a:lnTo>
                  <a:pt x="132" y="244"/>
                </a:lnTo>
                <a:lnTo>
                  <a:pt x="136" y="246"/>
                </a:lnTo>
                <a:lnTo>
                  <a:pt x="135" y="251"/>
                </a:lnTo>
                <a:lnTo>
                  <a:pt x="131" y="254"/>
                </a:lnTo>
                <a:lnTo>
                  <a:pt x="125" y="252"/>
                </a:lnTo>
                <a:lnTo>
                  <a:pt x="122" y="246"/>
                </a:lnTo>
                <a:lnTo>
                  <a:pt x="117" y="24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4" name="Freeform 5"/>
          <p:cNvSpPr>
            <a:spLocks/>
          </p:cNvSpPr>
          <p:nvPr/>
        </p:nvSpPr>
        <p:spPr bwMode="auto">
          <a:xfrm>
            <a:off x="2345882" y="4616449"/>
            <a:ext cx="276225" cy="457200"/>
          </a:xfrm>
          <a:custGeom>
            <a:avLst/>
            <a:gdLst>
              <a:gd name="T0" fmla="*/ 2147483647 w 29"/>
              <a:gd name="T1" fmla="*/ 0 h 48"/>
              <a:gd name="T2" fmla="*/ 2147483647 w 29"/>
              <a:gd name="T3" fmla="*/ 0 h 48"/>
              <a:gd name="T4" fmla="*/ 2147483647 w 29"/>
              <a:gd name="T5" fmla="*/ 2147483647 h 48"/>
              <a:gd name="T6" fmla="*/ 2147483647 w 29"/>
              <a:gd name="T7" fmla="*/ 2147483647 h 48"/>
              <a:gd name="T8" fmla="*/ 2147483647 w 29"/>
              <a:gd name="T9" fmla="*/ 2147483647 h 48"/>
              <a:gd name="T10" fmla="*/ 2147483647 w 29"/>
              <a:gd name="T11" fmla="*/ 2147483647 h 48"/>
              <a:gd name="T12" fmla="*/ 2147483647 w 29"/>
              <a:gd name="T13" fmla="*/ 2147483647 h 48"/>
              <a:gd name="T14" fmla="*/ 2147483647 w 29"/>
              <a:gd name="T15" fmla="*/ 2147483647 h 48"/>
              <a:gd name="T16" fmla="*/ 2147483647 w 29"/>
              <a:gd name="T17" fmla="*/ 2147483647 h 48"/>
              <a:gd name="T18" fmla="*/ 2147483647 w 29"/>
              <a:gd name="T19" fmla="*/ 2147483647 h 48"/>
              <a:gd name="T20" fmla="*/ 2147483647 w 29"/>
              <a:gd name="T21" fmla="*/ 2147483647 h 48"/>
              <a:gd name="T22" fmla="*/ 2147483647 w 29"/>
              <a:gd name="T23" fmla="*/ 2147483647 h 48"/>
              <a:gd name="T24" fmla="*/ 2147483647 w 29"/>
              <a:gd name="T25" fmla="*/ 2147483647 h 48"/>
              <a:gd name="T26" fmla="*/ 2147483647 w 29"/>
              <a:gd name="T27" fmla="*/ 2147483647 h 48"/>
              <a:gd name="T28" fmla="*/ 2147483647 w 29"/>
              <a:gd name="T29" fmla="*/ 2147483647 h 48"/>
              <a:gd name="T30" fmla="*/ 2147483647 w 29"/>
              <a:gd name="T31" fmla="*/ 2147483647 h 48"/>
              <a:gd name="T32" fmla="*/ 2147483647 w 29"/>
              <a:gd name="T33" fmla="*/ 2147483647 h 48"/>
              <a:gd name="T34" fmla="*/ 2147483647 w 29"/>
              <a:gd name="T35" fmla="*/ 2147483647 h 48"/>
              <a:gd name="T36" fmla="*/ 0 w 29"/>
              <a:gd name="T37" fmla="*/ 2147483647 h 48"/>
              <a:gd name="T38" fmla="*/ 0 w 29"/>
              <a:gd name="T39" fmla="*/ 2147483647 h 48"/>
              <a:gd name="T40" fmla="*/ 2147483647 w 29"/>
              <a:gd name="T41" fmla="*/ 2147483647 h 48"/>
              <a:gd name="T42" fmla="*/ 2147483647 w 29"/>
              <a:gd name="T43" fmla="*/ 2147483647 h 48"/>
              <a:gd name="T44" fmla="*/ 2147483647 w 29"/>
              <a:gd name="T45" fmla="*/ 2147483647 h 48"/>
              <a:gd name="T46" fmla="*/ 2147483647 w 29"/>
              <a:gd name="T47" fmla="*/ 2147483647 h 48"/>
              <a:gd name="T48" fmla="*/ 2147483647 w 29"/>
              <a:gd name="T49" fmla="*/ 2147483647 h 48"/>
              <a:gd name="T50" fmla="*/ 2147483647 w 29"/>
              <a:gd name="T51" fmla="*/ 2147483647 h 48"/>
              <a:gd name="T52" fmla="*/ 2147483647 w 29"/>
              <a:gd name="T53" fmla="*/ 2147483647 h 48"/>
              <a:gd name="T54" fmla="*/ 2147483647 w 29"/>
              <a:gd name="T55" fmla="*/ 2147483647 h 48"/>
              <a:gd name="T56" fmla="*/ 2147483647 w 29"/>
              <a:gd name="T57" fmla="*/ 2147483647 h 48"/>
              <a:gd name="T58" fmla="*/ 2147483647 w 29"/>
              <a:gd name="T59" fmla="*/ 2147483647 h 48"/>
              <a:gd name="T60" fmla="*/ 2147483647 w 29"/>
              <a:gd name="T61" fmla="*/ 2147483647 h 48"/>
              <a:gd name="T62" fmla="*/ 2147483647 w 29"/>
              <a:gd name="T63" fmla="*/ 2147483647 h 48"/>
              <a:gd name="T64" fmla="*/ 2147483647 w 29"/>
              <a:gd name="T65" fmla="*/ 2147483647 h 48"/>
              <a:gd name="T66" fmla="*/ 2147483647 w 29"/>
              <a:gd name="T67" fmla="*/ 2147483647 h 48"/>
              <a:gd name="T68" fmla="*/ 2147483647 w 29"/>
              <a:gd name="T69" fmla="*/ 2147483647 h 48"/>
              <a:gd name="T70" fmla="*/ 2147483647 w 29"/>
              <a:gd name="T71" fmla="*/ 2147483647 h 48"/>
              <a:gd name="T72" fmla="*/ 2147483647 w 29"/>
              <a:gd name="T73" fmla="*/ 2147483647 h 48"/>
              <a:gd name="T74" fmla="*/ 2147483647 w 29"/>
              <a:gd name="T75" fmla="*/ 2147483647 h 48"/>
              <a:gd name="T76" fmla="*/ 2147483647 w 29"/>
              <a:gd name="T77" fmla="*/ 2147483647 h 48"/>
              <a:gd name="T78" fmla="*/ 2147483647 w 29"/>
              <a:gd name="T79" fmla="*/ 2147483647 h 48"/>
              <a:gd name="T80" fmla="*/ 2147483647 w 29"/>
              <a:gd name="T81" fmla="*/ 2147483647 h 48"/>
              <a:gd name="T82" fmla="*/ 2147483647 w 29"/>
              <a:gd name="T83" fmla="*/ 0 h 48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9"/>
              <a:gd name="T127" fmla="*/ 0 h 48"/>
              <a:gd name="T128" fmla="*/ 29 w 29"/>
              <a:gd name="T129" fmla="*/ 48 h 48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9" h="48">
                <a:moveTo>
                  <a:pt x="18" y="0"/>
                </a:moveTo>
                <a:lnTo>
                  <a:pt x="24" y="0"/>
                </a:lnTo>
                <a:lnTo>
                  <a:pt x="26" y="1"/>
                </a:lnTo>
                <a:lnTo>
                  <a:pt x="29" y="5"/>
                </a:lnTo>
                <a:lnTo>
                  <a:pt x="29" y="9"/>
                </a:lnTo>
                <a:lnTo>
                  <a:pt x="27" y="9"/>
                </a:lnTo>
                <a:lnTo>
                  <a:pt x="27" y="20"/>
                </a:lnTo>
                <a:lnTo>
                  <a:pt x="19" y="27"/>
                </a:lnTo>
                <a:lnTo>
                  <a:pt x="18" y="38"/>
                </a:lnTo>
                <a:lnTo>
                  <a:pt x="17" y="47"/>
                </a:lnTo>
                <a:lnTo>
                  <a:pt x="13" y="47"/>
                </a:lnTo>
                <a:lnTo>
                  <a:pt x="11" y="45"/>
                </a:lnTo>
                <a:lnTo>
                  <a:pt x="9" y="46"/>
                </a:lnTo>
                <a:lnTo>
                  <a:pt x="7" y="48"/>
                </a:lnTo>
                <a:lnTo>
                  <a:pt x="3" y="44"/>
                </a:lnTo>
                <a:lnTo>
                  <a:pt x="3" y="41"/>
                </a:lnTo>
                <a:lnTo>
                  <a:pt x="4" y="40"/>
                </a:lnTo>
                <a:lnTo>
                  <a:pt x="4" y="35"/>
                </a:lnTo>
                <a:lnTo>
                  <a:pt x="0" y="29"/>
                </a:lnTo>
                <a:lnTo>
                  <a:pt x="0" y="23"/>
                </a:lnTo>
                <a:lnTo>
                  <a:pt x="3" y="22"/>
                </a:lnTo>
                <a:lnTo>
                  <a:pt x="8" y="21"/>
                </a:lnTo>
                <a:lnTo>
                  <a:pt x="10" y="21"/>
                </a:lnTo>
                <a:lnTo>
                  <a:pt x="10" y="22"/>
                </a:lnTo>
                <a:lnTo>
                  <a:pt x="12" y="22"/>
                </a:lnTo>
                <a:lnTo>
                  <a:pt x="14" y="19"/>
                </a:lnTo>
                <a:lnTo>
                  <a:pt x="16" y="16"/>
                </a:lnTo>
                <a:lnTo>
                  <a:pt x="20" y="15"/>
                </a:lnTo>
                <a:lnTo>
                  <a:pt x="20" y="12"/>
                </a:lnTo>
                <a:lnTo>
                  <a:pt x="17" y="12"/>
                </a:lnTo>
                <a:lnTo>
                  <a:pt x="15" y="9"/>
                </a:lnTo>
                <a:lnTo>
                  <a:pt x="13" y="8"/>
                </a:lnTo>
                <a:lnTo>
                  <a:pt x="13" y="6"/>
                </a:lnTo>
                <a:lnTo>
                  <a:pt x="15" y="6"/>
                </a:lnTo>
                <a:lnTo>
                  <a:pt x="16" y="5"/>
                </a:lnTo>
                <a:lnTo>
                  <a:pt x="15" y="4"/>
                </a:lnTo>
                <a:lnTo>
                  <a:pt x="14" y="4"/>
                </a:lnTo>
                <a:lnTo>
                  <a:pt x="15" y="2"/>
                </a:lnTo>
                <a:lnTo>
                  <a:pt x="17" y="2"/>
                </a:lnTo>
                <a:lnTo>
                  <a:pt x="18" y="1"/>
                </a:lnTo>
                <a:lnTo>
                  <a:pt x="18" y="0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6" name="Freeform 6"/>
          <p:cNvSpPr>
            <a:spLocks/>
          </p:cNvSpPr>
          <p:nvPr/>
        </p:nvSpPr>
        <p:spPr bwMode="auto">
          <a:xfrm>
            <a:off x="2345882" y="4664074"/>
            <a:ext cx="190500" cy="161925"/>
          </a:xfrm>
          <a:custGeom>
            <a:avLst/>
            <a:gdLst>
              <a:gd name="T0" fmla="*/ 2147483647 w 20"/>
              <a:gd name="T1" fmla="*/ 2147483647 h 17"/>
              <a:gd name="T2" fmla="*/ 2147483647 w 20"/>
              <a:gd name="T3" fmla="*/ 2147483647 h 17"/>
              <a:gd name="T4" fmla="*/ 2147483647 w 20"/>
              <a:gd name="T5" fmla="*/ 2147483647 h 17"/>
              <a:gd name="T6" fmla="*/ 2147483647 w 20"/>
              <a:gd name="T7" fmla="*/ 2147483647 h 17"/>
              <a:gd name="T8" fmla="*/ 2147483647 w 20"/>
              <a:gd name="T9" fmla="*/ 2147483647 h 17"/>
              <a:gd name="T10" fmla="*/ 2147483647 w 20"/>
              <a:gd name="T11" fmla="*/ 2147483647 h 17"/>
              <a:gd name="T12" fmla="*/ 2147483647 w 20"/>
              <a:gd name="T13" fmla="*/ 2147483647 h 17"/>
              <a:gd name="T14" fmla="*/ 2147483647 w 20"/>
              <a:gd name="T15" fmla="*/ 2147483647 h 17"/>
              <a:gd name="T16" fmla="*/ 2147483647 w 20"/>
              <a:gd name="T17" fmla="*/ 2147483647 h 17"/>
              <a:gd name="T18" fmla="*/ 2147483647 w 20"/>
              <a:gd name="T19" fmla="*/ 2147483647 h 17"/>
              <a:gd name="T20" fmla="*/ 2147483647 w 20"/>
              <a:gd name="T21" fmla="*/ 2147483647 h 17"/>
              <a:gd name="T22" fmla="*/ 2147483647 w 20"/>
              <a:gd name="T23" fmla="*/ 2147483647 h 17"/>
              <a:gd name="T24" fmla="*/ 2147483647 w 20"/>
              <a:gd name="T25" fmla="*/ 2147483647 h 17"/>
              <a:gd name="T26" fmla="*/ 2147483647 w 20"/>
              <a:gd name="T27" fmla="*/ 2147483647 h 17"/>
              <a:gd name="T28" fmla="*/ 2147483647 w 20"/>
              <a:gd name="T29" fmla="*/ 2147483647 h 17"/>
              <a:gd name="T30" fmla="*/ 0 w 20"/>
              <a:gd name="T31" fmla="*/ 2147483647 h 17"/>
              <a:gd name="T32" fmla="*/ 2147483647 w 20"/>
              <a:gd name="T33" fmla="*/ 2147483647 h 17"/>
              <a:gd name="T34" fmla="*/ 2147483647 w 20"/>
              <a:gd name="T35" fmla="*/ 2147483647 h 17"/>
              <a:gd name="T36" fmla="*/ 2147483647 w 20"/>
              <a:gd name="T37" fmla="*/ 2147483647 h 17"/>
              <a:gd name="T38" fmla="*/ 2147483647 w 20"/>
              <a:gd name="T39" fmla="*/ 2147483647 h 17"/>
              <a:gd name="T40" fmla="*/ 2147483647 w 20"/>
              <a:gd name="T41" fmla="*/ 2147483647 h 17"/>
              <a:gd name="T42" fmla="*/ 2147483647 w 20"/>
              <a:gd name="T43" fmla="*/ 2147483647 h 17"/>
              <a:gd name="T44" fmla="*/ 2147483647 w 20"/>
              <a:gd name="T45" fmla="*/ 2147483647 h 17"/>
              <a:gd name="T46" fmla="*/ 2147483647 w 20"/>
              <a:gd name="T47" fmla="*/ 0 h 17"/>
              <a:gd name="T48" fmla="*/ 2147483647 w 20"/>
              <a:gd name="T49" fmla="*/ 0 h 17"/>
              <a:gd name="T50" fmla="*/ 2147483647 w 20"/>
              <a:gd name="T51" fmla="*/ 2147483647 h 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20"/>
              <a:gd name="T79" fmla="*/ 0 h 17"/>
              <a:gd name="T80" fmla="*/ 20 w 20"/>
              <a:gd name="T81" fmla="*/ 17 h 17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20" h="17">
                <a:moveTo>
                  <a:pt x="13" y="1"/>
                </a:moveTo>
                <a:lnTo>
                  <a:pt x="13" y="3"/>
                </a:lnTo>
                <a:lnTo>
                  <a:pt x="15" y="4"/>
                </a:lnTo>
                <a:lnTo>
                  <a:pt x="17" y="6"/>
                </a:lnTo>
                <a:lnTo>
                  <a:pt x="20" y="7"/>
                </a:lnTo>
                <a:lnTo>
                  <a:pt x="20" y="10"/>
                </a:lnTo>
                <a:lnTo>
                  <a:pt x="16" y="11"/>
                </a:lnTo>
                <a:lnTo>
                  <a:pt x="14" y="14"/>
                </a:lnTo>
                <a:lnTo>
                  <a:pt x="12" y="17"/>
                </a:lnTo>
                <a:lnTo>
                  <a:pt x="10" y="17"/>
                </a:lnTo>
                <a:lnTo>
                  <a:pt x="10" y="16"/>
                </a:lnTo>
                <a:lnTo>
                  <a:pt x="8" y="16"/>
                </a:lnTo>
                <a:lnTo>
                  <a:pt x="3" y="17"/>
                </a:lnTo>
                <a:lnTo>
                  <a:pt x="1" y="15"/>
                </a:lnTo>
                <a:lnTo>
                  <a:pt x="0" y="11"/>
                </a:lnTo>
                <a:lnTo>
                  <a:pt x="2" y="10"/>
                </a:lnTo>
                <a:lnTo>
                  <a:pt x="5" y="8"/>
                </a:lnTo>
                <a:lnTo>
                  <a:pt x="7" y="8"/>
                </a:lnTo>
                <a:lnTo>
                  <a:pt x="8" y="7"/>
                </a:lnTo>
                <a:lnTo>
                  <a:pt x="8" y="4"/>
                </a:lnTo>
                <a:lnTo>
                  <a:pt x="7" y="3"/>
                </a:lnTo>
                <a:lnTo>
                  <a:pt x="7" y="1"/>
                </a:lnTo>
                <a:lnTo>
                  <a:pt x="9" y="0"/>
                </a:lnTo>
                <a:lnTo>
                  <a:pt x="11" y="0"/>
                </a:lnTo>
                <a:lnTo>
                  <a:pt x="13" y="1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7" name="Freeform 7"/>
          <p:cNvSpPr>
            <a:spLocks/>
          </p:cNvSpPr>
          <p:nvPr/>
        </p:nvSpPr>
        <p:spPr bwMode="auto">
          <a:xfrm>
            <a:off x="2326832" y="4673599"/>
            <a:ext cx="95250" cy="95250"/>
          </a:xfrm>
          <a:custGeom>
            <a:avLst/>
            <a:gdLst>
              <a:gd name="T0" fmla="*/ 2147483647 w 10"/>
              <a:gd name="T1" fmla="*/ 0 h 10"/>
              <a:gd name="T2" fmla="*/ 2147483647 w 10"/>
              <a:gd name="T3" fmla="*/ 2147483647 h 10"/>
              <a:gd name="T4" fmla="*/ 2147483647 w 10"/>
              <a:gd name="T5" fmla="*/ 2147483647 h 10"/>
              <a:gd name="T6" fmla="*/ 2147483647 w 10"/>
              <a:gd name="T7" fmla="*/ 2147483647 h 10"/>
              <a:gd name="T8" fmla="*/ 2147483647 w 10"/>
              <a:gd name="T9" fmla="*/ 2147483647 h 10"/>
              <a:gd name="T10" fmla="*/ 2147483647 w 10"/>
              <a:gd name="T11" fmla="*/ 2147483647 h 10"/>
              <a:gd name="T12" fmla="*/ 2147483647 w 10"/>
              <a:gd name="T13" fmla="*/ 2147483647 h 10"/>
              <a:gd name="T14" fmla="*/ 2147483647 w 10"/>
              <a:gd name="T15" fmla="*/ 2147483647 h 10"/>
              <a:gd name="T16" fmla="*/ 0 w 10"/>
              <a:gd name="T17" fmla="*/ 2147483647 h 10"/>
              <a:gd name="T18" fmla="*/ 0 w 10"/>
              <a:gd name="T19" fmla="*/ 2147483647 h 10"/>
              <a:gd name="T20" fmla="*/ 2147483647 w 10"/>
              <a:gd name="T21" fmla="*/ 2147483647 h 10"/>
              <a:gd name="T22" fmla="*/ 2147483647 w 10"/>
              <a:gd name="T23" fmla="*/ 2147483647 h 10"/>
              <a:gd name="T24" fmla="*/ 2147483647 w 10"/>
              <a:gd name="T25" fmla="*/ 2147483647 h 10"/>
              <a:gd name="T26" fmla="*/ 2147483647 w 10"/>
              <a:gd name="T27" fmla="*/ 2147483647 h 10"/>
              <a:gd name="T28" fmla="*/ 2147483647 w 10"/>
              <a:gd name="T29" fmla="*/ 2147483647 h 10"/>
              <a:gd name="T30" fmla="*/ 2147483647 w 10"/>
              <a:gd name="T31" fmla="*/ 0 h 10"/>
              <a:gd name="T32" fmla="*/ 2147483647 w 10"/>
              <a:gd name="T33" fmla="*/ 0 h 1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0"/>
              <a:gd name="T52" fmla="*/ 0 h 10"/>
              <a:gd name="T53" fmla="*/ 10 w 10"/>
              <a:gd name="T54" fmla="*/ 10 h 10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0" h="10">
                <a:moveTo>
                  <a:pt x="9" y="0"/>
                </a:moveTo>
                <a:lnTo>
                  <a:pt x="9" y="2"/>
                </a:lnTo>
                <a:lnTo>
                  <a:pt x="10" y="3"/>
                </a:lnTo>
                <a:lnTo>
                  <a:pt x="10" y="6"/>
                </a:lnTo>
                <a:lnTo>
                  <a:pt x="9" y="7"/>
                </a:lnTo>
                <a:lnTo>
                  <a:pt x="7" y="7"/>
                </a:lnTo>
                <a:lnTo>
                  <a:pt x="4" y="9"/>
                </a:lnTo>
                <a:lnTo>
                  <a:pt x="2" y="10"/>
                </a:lnTo>
                <a:lnTo>
                  <a:pt x="0" y="9"/>
                </a:lnTo>
                <a:lnTo>
                  <a:pt x="0" y="6"/>
                </a:lnTo>
                <a:lnTo>
                  <a:pt x="4" y="6"/>
                </a:lnTo>
                <a:lnTo>
                  <a:pt x="4" y="5"/>
                </a:lnTo>
                <a:lnTo>
                  <a:pt x="5" y="5"/>
                </a:lnTo>
                <a:lnTo>
                  <a:pt x="5" y="1"/>
                </a:lnTo>
                <a:lnTo>
                  <a:pt x="6" y="1"/>
                </a:lnTo>
                <a:lnTo>
                  <a:pt x="7" y="0"/>
                </a:lnTo>
                <a:lnTo>
                  <a:pt x="9" y="0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" name="Freeform 8"/>
          <p:cNvSpPr>
            <a:spLocks/>
          </p:cNvSpPr>
          <p:nvPr/>
        </p:nvSpPr>
        <p:spPr bwMode="auto">
          <a:xfrm>
            <a:off x="2298257" y="4264024"/>
            <a:ext cx="285750" cy="409575"/>
          </a:xfrm>
          <a:custGeom>
            <a:avLst/>
            <a:gdLst>
              <a:gd name="T0" fmla="*/ 2147483647 w 30"/>
              <a:gd name="T1" fmla="*/ 2147483647 h 43"/>
              <a:gd name="T2" fmla="*/ 2147483647 w 30"/>
              <a:gd name="T3" fmla="*/ 2147483647 h 43"/>
              <a:gd name="T4" fmla="*/ 2147483647 w 30"/>
              <a:gd name="T5" fmla="*/ 2147483647 h 43"/>
              <a:gd name="T6" fmla="*/ 2147483647 w 30"/>
              <a:gd name="T7" fmla="*/ 2147483647 h 43"/>
              <a:gd name="T8" fmla="*/ 2147483647 w 30"/>
              <a:gd name="T9" fmla="*/ 2147483647 h 43"/>
              <a:gd name="T10" fmla="*/ 2147483647 w 30"/>
              <a:gd name="T11" fmla="*/ 2147483647 h 43"/>
              <a:gd name="T12" fmla="*/ 2147483647 w 30"/>
              <a:gd name="T13" fmla="*/ 2147483647 h 43"/>
              <a:gd name="T14" fmla="*/ 2147483647 w 30"/>
              <a:gd name="T15" fmla="*/ 2147483647 h 43"/>
              <a:gd name="T16" fmla="*/ 2147483647 w 30"/>
              <a:gd name="T17" fmla="*/ 2147483647 h 43"/>
              <a:gd name="T18" fmla="*/ 2147483647 w 30"/>
              <a:gd name="T19" fmla="*/ 2147483647 h 43"/>
              <a:gd name="T20" fmla="*/ 2147483647 w 30"/>
              <a:gd name="T21" fmla="*/ 2147483647 h 43"/>
              <a:gd name="T22" fmla="*/ 0 w 30"/>
              <a:gd name="T23" fmla="*/ 2147483647 h 43"/>
              <a:gd name="T24" fmla="*/ 0 w 30"/>
              <a:gd name="T25" fmla="*/ 2147483647 h 43"/>
              <a:gd name="T26" fmla="*/ 2147483647 w 30"/>
              <a:gd name="T27" fmla="*/ 2147483647 h 43"/>
              <a:gd name="T28" fmla="*/ 2147483647 w 30"/>
              <a:gd name="T29" fmla="*/ 2147483647 h 43"/>
              <a:gd name="T30" fmla="*/ 0 w 30"/>
              <a:gd name="T31" fmla="*/ 2147483647 h 43"/>
              <a:gd name="T32" fmla="*/ 2147483647 w 30"/>
              <a:gd name="T33" fmla="*/ 2147483647 h 43"/>
              <a:gd name="T34" fmla="*/ 2147483647 w 30"/>
              <a:gd name="T35" fmla="*/ 2147483647 h 43"/>
              <a:gd name="T36" fmla="*/ 2147483647 w 30"/>
              <a:gd name="T37" fmla="*/ 2147483647 h 43"/>
              <a:gd name="T38" fmla="*/ 2147483647 w 30"/>
              <a:gd name="T39" fmla="*/ 2147483647 h 43"/>
              <a:gd name="T40" fmla="*/ 2147483647 w 30"/>
              <a:gd name="T41" fmla="*/ 2147483647 h 43"/>
              <a:gd name="T42" fmla="*/ 2147483647 w 30"/>
              <a:gd name="T43" fmla="*/ 0 h 43"/>
              <a:gd name="T44" fmla="*/ 2147483647 w 30"/>
              <a:gd name="T45" fmla="*/ 2147483647 h 43"/>
              <a:gd name="T46" fmla="*/ 2147483647 w 30"/>
              <a:gd name="T47" fmla="*/ 0 h 43"/>
              <a:gd name="T48" fmla="*/ 2147483647 w 30"/>
              <a:gd name="T49" fmla="*/ 2147483647 h 43"/>
              <a:gd name="T50" fmla="*/ 2147483647 w 30"/>
              <a:gd name="T51" fmla="*/ 2147483647 h 43"/>
              <a:gd name="T52" fmla="*/ 2147483647 w 30"/>
              <a:gd name="T53" fmla="*/ 2147483647 h 43"/>
              <a:gd name="T54" fmla="*/ 2147483647 w 30"/>
              <a:gd name="T55" fmla="*/ 2147483647 h 43"/>
              <a:gd name="T56" fmla="*/ 2147483647 w 30"/>
              <a:gd name="T57" fmla="*/ 2147483647 h 43"/>
              <a:gd name="T58" fmla="*/ 2147483647 w 30"/>
              <a:gd name="T59" fmla="*/ 2147483647 h 43"/>
              <a:gd name="T60" fmla="*/ 2147483647 w 30"/>
              <a:gd name="T61" fmla="*/ 2147483647 h 43"/>
              <a:gd name="T62" fmla="*/ 2147483647 w 30"/>
              <a:gd name="T63" fmla="*/ 2147483647 h 43"/>
              <a:gd name="T64" fmla="*/ 2147483647 w 30"/>
              <a:gd name="T65" fmla="*/ 2147483647 h 43"/>
              <a:gd name="T66" fmla="*/ 2147483647 w 30"/>
              <a:gd name="T67" fmla="*/ 2147483647 h 43"/>
              <a:gd name="T68" fmla="*/ 2147483647 w 30"/>
              <a:gd name="T69" fmla="*/ 2147483647 h 43"/>
              <a:gd name="T70" fmla="*/ 2147483647 w 30"/>
              <a:gd name="T71" fmla="*/ 2147483647 h 4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0"/>
              <a:gd name="T109" fmla="*/ 0 h 43"/>
              <a:gd name="T110" fmla="*/ 30 w 30"/>
              <a:gd name="T111" fmla="*/ 43 h 43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0" h="43">
                <a:moveTo>
                  <a:pt x="29" y="37"/>
                </a:moveTo>
                <a:lnTo>
                  <a:pt x="23" y="37"/>
                </a:lnTo>
                <a:lnTo>
                  <a:pt x="23" y="38"/>
                </a:lnTo>
                <a:lnTo>
                  <a:pt x="21" y="39"/>
                </a:lnTo>
                <a:lnTo>
                  <a:pt x="20" y="39"/>
                </a:lnTo>
                <a:lnTo>
                  <a:pt x="19" y="41"/>
                </a:lnTo>
                <a:lnTo>
                  <a:pt x="20" y="41"/>
                </a:lnTo>
                <a:lnTo>
                  <a:pt x="21" y="42"/>
                </a:lnTo>
                <a:lnTo>
                  <a:pt x="20" y="43"/>
                </a:lnTo>
                <a:lnTo>
                  <a:pt x="18" y="43"/>
                </a:lnTo>
                <a:lnTo>
                  <a:pt x="16" y="42"/>
                </a:lnTo>
                <a:lnTo>
                  <a:pt x="14" y="42"/>
                </a:lnTo>
                <a:lnTo>
                  <a:pt x="12" y="40"/>
                </a:lnTo>
                <a:lnTo>
                  <a:pt x="12" y="39"/>
                </a:lnTo>
                <a:lnTo>
                  <a:pt x="11" y="38"/>
                </a:lnTo>
                <a:lnTo>
                  <a:pt x="11" y="36"/>
                </a:lnTo>
                <a:lnTo>
                  <a:pt x="11" y="34"/>
                </a:lnTo>
                <a:lnTo>
                  <a:pt x="9" y="33"/>
                </a:lnTo>
                <a:lnTo>
                  <a:pt x="7" y="33"/>
                </a:lnTo>
                <a:lnTo>
                  <a:pt x="4" y="32"/>
                </a:lnTo>
                <a:lnTo>
                  <a:pt x="4" y="29"/>
                </a:lnTo>
                <a:lnTo>
                  <a:pt x="2" y="29"/>
                </a:lnTo>
                <a:lnTo>
                  <a:pt x="1" y="28"/>
                </a:lnTo>
                <a:lnTo>
                  <a:pt x="0" y="28"/>
                </a:lnTo>
                <a:lnTo>
                  <a:pt x="0" y="25"/>
                </a:lnTo>
                <a:lnTo>
                  <a:pt x="0" y="23"/>
                </a:lnTo>
                <a:lnTo>
                  <a:pt x="1" y="22"/>
                </a:lnTo>
                <a:lnTo>
                  <a:pt x="3" y="22"/>
                </a:lnTo>
                <a:lnTo>
                  <a:pt x="3" y="21"/>
                </a:lnTo>
                <a:lnTo>
                  <a:pt x="2" y="19"/>
                </a:lnTo>
                <a:lnTo>
                  <a:pt x="1" y="17"/>
                </a:lnTo>
                <a:lnTo>
                  <a:pt x="0" y="15"/>
                </a:lnTo>
                <a:lnTo>
                  <a:pt x="0" y="12"/>
                </a:lnTo>
                <a:lnTo>
                  <a:pt x="3" y="11"/>
                </a:lnTo>
                <a:lnTo>
                  <a:pt x="4" y="10"/>
                </a:lnTo>
                <a:lnTo>
                  <a:pt x="3" y="10"/>
                </a:lnTo>
                <a:lnTo>
                  <a:pt x="3" y="9"/>
                </a:lnTo>
                <a:lnTo>
                  <a:pt x="4" y="8"/>
                </a:lnTo>
                <a:lnTo>
                  <a:pt x="4" y="6"/>
                </a:lnTo>
                <a:lnTo>
                  <a:pt x="3" y="6"/>
                </a:lnTo>
                <a:lnTo>
                  <a:pt x="3" y="4"/>
                </a:lnTo>
                <a:lnTo>
                  <a:pt x="5" y="3"/>
                </a:lnTo>
                <a:lnTo>
                  <a:pt x="4" y="0"/>
                </a:lnTo>
                <a:lnTo>
                  <a:pt x="7" y="0"/>
                </a:lnTo>
                <a:lnTo>
                  <a:pt x="8" y="2"/>
                </a:lnTo>
                <a:lnTo>
                  <a:pt x="9" y="2"/>
                </a:lnTo>
                <a:lnTo>
                  <a:pt x="10" y="1"/>
                </a:lnTo>
                <a:lnTo>
                  <a:pt x="10" y="0"/>
                </a:lnTo>
                <a:lnTo>
                  <a:pt x="11" y="0"/>
                </a:lnTo>
                <a:lnTo>
                  <a:pt x="13" y="2"/>
                </a:lnTo>
                <a:lnTo>
                  <a:pt x="14" y="2"/>
                </a:lnTo>
                <a:lnTo>
                  <a:pt x="15" y="5"/>
                </a:lnTo>
                <a:lnTo>
                  <a:pt x="18" y="5"/>
                </a:lnTo>
                <a:lnTo>
                  <a:pt x="18" y="7"/>
                </a:lnTo>
                <a:lnTo>
                  <a:pt x="21" y="7"/>
                </a:lnTo>
                <a:lnTo>
                  <a:pt x="21" y="8"/>
                </a:lnTo>
                <a:lnTo>
                  <a:pt x="23" y="8"/>
                </a:lnTo>
                <a:lnTo>
                  <a:pt x="23" y="11"/>
                </a:lnTo>
                <a:lnTo>
                  <a:pt x="25" y="14"/>
                </a:lnTo>
                <a:lnTo>
                  <a:pt x="25" y="15"/>
                </a:lnTo>
                <a:lnTo>
                  <a:pt x="25" y="17"/>
                </a:lnTo>
                <a:lnTo>
                  <a:pt x="26" y="17"/>
                </a:lnTo>
                <a:lnTo>
                  <a:pt x="27" y="19"/>
                </a:lnTo>
                <a:lnTo>
                  <a:pt x="25" y="19"/>
                </a:lnTo>
                <a:lnTo>
                  <a:pt x="25" y="22"/>
                </a:lnTo>
                <a:lnTo>
                  <a:pt x="28" y="24"/>
                </a:lnTo>
                <a:lnTo>
                  <a:pt x="29" y="25"/>
                </a:lnTo>
                <a:lnTo>
                  <a:pt x="28" y="28"/>
                </a:lnTo>
                <a:lnTo>
                  <a:pt x="29" y="30"/>
                </a:lnTo>
                <a:lnTo>
                  <a:pt x="30" y="32"/>
                </a:lnTo>
                <a:lnTo>
                  <a:pt x="30" y="35"/>
                </a:lnTo>
                <a:lnTo>
                  <a:pt x="29" y="37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" name="Freeform 9"/>
          <p:cNvSpPr>
            <a:spLocks/>
          </p:cNvSpPr>
          <p:nvPr/>
        </p:nvSpPr>
        <p:spPr bwMode="auto">
          <a:xfrm>
            <a:off x="2260157" y="4625974"/>
            <a:ext cx="171450" cy="104775"/>
          </a:xfrm>
          <a:custGeom>
            <a:avLst/>
            <a:gdLst>
              <a:gd name="T0" fmla="*/ 2147483647 w 18"/>
              <a:gd name="T1" fmla="*/ 2147483647 h 11"/>
              <a:gd name="T2" fmla="*/ 2147483647 w 18"/>
              <a:gd name="T3" fmla="*/ 2147483647 h 11"/>
              <a:gd name="T4" fmla="*/ 2147483647 w 18"/>
              <a:gd name="T5" fmla="*/ 2147483647 h 11"/>
              <a:gd name="T6" fmla="*/ 2147483647 w 18"/>
              <a:gd name="T7" fmla="*/ 2147483647 h 11"/>
              <a:gd name="T8" fmla="*/ 2147483647 w 18"/>
              <a:gd name="T9" fmla="*/ 2147483647 h 11"/>
              <a:gd name="T10" fmla="*/ 2147483647 w 18"/>
              <a:gd name="T11" fmla="*/ 2147483647 h 11"/>
              <a:gd name="T12" fmla="*/ 2147483647 w 18"/>
              <a:gd name="T13" fmla="*/ 2147483647 h 11"/>
              <a:gd name="T14" fmla="*/ 2147483647 w 18"/>
              <a:gd name="T15" fmla="*/ 2147483647 h 11"/>
              <a:gd name="T16" fmla="*/ 2147483647 w 18"/>
              <a:gd name="T17" fmla="*/ 2147483647 h 11"/>
              <a:gd name="T18" fmla="*/ 2147483647 w 18"/>
              <a:gd name="T19" fmla="*/ 2147483647 h 11"/>
              <a:gd name="T20" fmla="*/ 2147483647 w 18"/>
              <a:gd name="T21" fmla="*/ 2147483647 h 11"/>
              <a:gd name="T22" fmla="*/ 2147483647 w 18"/>
              <a:gd name="T23" fmla="*/ 0 h 11"/>
              <a:gd name="T24" fmla="*/ 2147483647 w 18"/>
              <a:gd name="T25" fmla="*/ 2147483647 h 11"/>
              <a:gd name="T26" fmla="*/ 2147483647 w 18"/>
              <a:gd name="T27" fmla="*/ 2147483647 h 11"/>
              <a:gd name="T28" fmla="*/ 2147483647 w 18"/>
              <a:gd name="T29" fmla="*/ 2147483647 h 11"/>
              <a:gd name="T30" fmla="*/ 2147483647 w 18"/>
              <a:gd name="T31" fmla="*/ 2147483647 h 11"/>
              <a:gd name="T32" fmla="*/ 2147483647 w 18"/>
              <a:gd name="T33" fmla="*/ 2147483647 h 11"/>
              <a:gd name="T34" fmla="*/ 2147483647 w 18"/>
              <a:gd name="T35" fmla="*/ 2147483647 h 11"/>
              <a:gd name="T36" fmla="*/ 2147483647 w 18"/>
              <a:gd name="T37" fmla="*/ 2147483647 h 11"/>
              <a:gd name="T38" fmla="*/ 2147483647 w 18"/>
              <a:gd name="T39" fmla="*/ 2147483647 h 11"/>
              <a:gd name="T40" fmla="*/ 2147483647 w 18"/>
              <a:gd name="T41" fmla="*/ 2147483647 h 11"/>
              <a:gd name="T42" fmla="*/ 2147483647 w 18"/>
              <a:gd name="T43" fmla="*/ 2147483647 h 11"/>
              <a:gd name="T44" fmla="*/ 2147483647 w 18"/>
              <a:gd name="T45" fmla="*/ 2147483647 h 11"/>
              <a:gd name="T46" fmla="*/ 2147483647 w 18"/>
              <a:gd name="T47" fmla="*/ 2147483647 h 11"/>
              <a:gd name="T48" fmla="*/ 2147483647 w 18"/>
              <a:gd name="T49" fmla="*/ 2147483647 h 11"/>
              <a:gd name="T50" fmla="*/ 0 w 18"/>
              <a:gd name="T51" fmla="*/ 2147483647 h 11"/>
              <a:gd name="T52" fmla="*/ 2147483647 w 18"/>
              <a:gd name="T53" fmla="*/ 2147483647 h 11"/>
              <a:gd name="T54" fmla="*/ 2147483647 w 18"/>
              <a:gd name="T55" fmla="*/ 2147483647 h 11"/>
              <a:gd name="T56" fmla="*/ 2147483647 w 18"/>
              <a:gd name="T57" fmla="*/ 2147483647 h 11"/>
              <a:gd name="T58" fmla="*/ 2147483647 w 18"/>
              <a:gd name="T59" fmla="*/ 2147483647 h 11"/>
              <a:gd name="T60" fmla="*/ 2147483647 w 18"/>
              <a:gd name="T61" fmla="*/ 2147483647 h 11"/>
              <a:gd name="T62" fmla="*/ 2147483647 w 18"/>
              <a:gd name="T63" fmla="*/ 2147483647 h 1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8"/>
              <a:gd name="T97" fmla="*/ 0 h 11"/>
              <a:gd name="T98" fmla="*/ 18 w 18"/>
              <a:gd name="T99" fmla="*/ 11 h 1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8" h="11">
                <a:moveTo>
                  <a:pt x="7" y="11"/>
                </a:moveTo>
                <a:lnTo>
                  <a:pt x="11" y="11"/>
                </a:lnTo>
                <a:lnTo>
                  <a:pt x="11" y="10"/>
                </a:lnTo>
                <a:lnTo>
                  <a:pt x="12" y="10"/>
                </a:lnTo>
                <a:lnTo>
                  <a:pt x="12" y="6"/>
                </a:lnTo>
                <a:lnTo>
                  <a:pt x="13" y="6"/>
                </a:lnTo>
                <a:lnTo>
                  <a:pt x="14" y="5"/>
                </a:lnTo>
                <a:lnTo>
                  <a:pt x="16" y="5"/>
                </a:lnTo>
                <a:lnTo>
                  <a:pt x="18" y="4"/>
                </a:lnTo>
                <a:lnTo>
                  <a:pt x="16" y="2"/>
                </a:lnTo>
                <a:lnTo>
                  <a:pt x="16" y="1"/>
                </a:lnTo>
                <a:lnTo>
                  <a:pt x="15" y="0"/>
                </a:lnTo>
                <a:lnTo>
                  <a:pt x="15" y="1"/>
                </a:lnTo>
                <a:lnTo>
                  <a:pt x="14" y="1"/>
                </a:lnTo>
                <a:lnTo>
                  <a:pt x="14" y="3"/>
                </a:lnTo>
                <a:lnTo>
                  <a:pt x="13" y="3"/>
                </a:lnTo>
                <a:lnTo>
                  <a:pt x="12" y="4"/>
                </a:lnTo>
                <a:lnTo>
                  <a:pt x="11" y="3"/>
                </a:lnTo>
                <a:lnTo>
                  <a:pt x="10" y="3"/>
                </a:lnTo>
                <a:lnTo>
                  <a:pt x="9" y="3"/>
                </a:lnTo>
                <a:lnTo>
                  <a:pt x="7" y="2"/>
                </a:lnTo>
                <a:lnTo>
                  <a:pt x="4" y="2"/>
                </a:lnTo>
                <a:lnTo>
                  <a:pt x="3" y="3"/>
                </a:lnTo>
                <a:lnTo>
                  <a:pt x="2" y="3"/>
                </a:lnTo>
                <a:lnTo>
                  <a:pt x="0" y="3"/>
                </a:lnTo>
                <a:lnTo>
                  <a:pt x="1" y="6"/>
                </a:lnTo>
                <a:lnTo>
                  <a:pt x="1" y="10"/>
                </a:lnTo>
                <a:lnTo>
                  <a:pt x="2" y="10"/>
                </a:lnTo>
                <a:lnTo>
                  <a:pt x="4" y="10"/>
                </a:lnTo>
                <a:lnTo>
                  <a:pt x="5" y="11"/>
                </a:lnTo>
                <a:lnTo>
                  <a:pt x="7" y="11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0" name="Freeform 10"/>
          <p:cNvSpPr>
            <a:spLocks/>
          </p:cNvSpPr>
          <p:nvPr/>
        </p:nvSpPr>
        <p:spPr bwMode="auto">
          <a:xfrm>
            <a:off x="2222057" y="4530724"/>
            <a:ext cx="180975" cy="133350"/>
          </a:xfrm>
          <a:custGeom>
            <a:avLst/>
            <a:gdLst>
              <a:gd name="T0" fmla="*/ 2147483647 w 19"/>
              <a:gd name="T1" fmla="*/ 2147483647 h 14"/>
              <a:gd name="T2" fmla="*/ 2147483647 w 19"/>
              <a:gd name="T3" fmla="*/ 2147483647 h 14"/>
              <a:gd name="T4" fmla="*/ 2147483647 w 19"/>
              <a:gd name="T5" fmla="*/ 2147483647 h 14"/>
              <a:gd name="T6" fmla="*/ 2147483647 w 19"/>
              <a:gd name="T7" fmla="*/ 2147483647 h 14"/>
              <a:gd name="T8" fmla="*/ 2147483647 w 19"/>
              <a:gd name="T9" fmla="*/ 2147483647 h 14"/>
              <a:gd name="T10" fmla="*/ 2147483647 w 19"/>
              <a:gd name="T11" fmla="*/ 2147483647 h 14"/>
              <a:gd name="T12" fmla="*/ 2147483647 w 19"/>
              <a:gd name="T13" fmla="*/ 2147483647 h 14"/>
              <a:gd name="T14" fmla="*/ 2147483647 w 19"/>
              <a:gd name="T15" fmla="*/ 2147483647 h 14"/>
              <a:gd name="T16" fmla="*/ 2147483647 w 19"/>
              <a:gd name="T17" fmla="*/ 2147483647 h 14"/>
              <a:gd name="T18" fmla="*/ 2147483647 w 19"/>
              <a:gd name="T19" fmla="*/ 2147483647 h 14"/>
              <a:gd name="T20" fmla="*/ 2147483647 w 19"/>
              <a:gd name="T21" fmla="*/ 2147483647 h 14"/>
              <a:gd name="T22" fmla="*/ 2147483647 w 19"/>
              <a:gd name="T23" fmla="*/ 2147483647 h 14"/>
              <a:gd name="T24" fmla="*/ 2147483647 w 19"/>
              <a:gd name="T25" fmla="*/ 2147483647 h 14"/>
              <a:gd name="T26" fmla="*/ 2147483647 w 19"/>
              <a:gd name="T27" fmla="*/ 2147483647 h 14"/>
              <a:gd name="T28" fmla="*/ 2147483647 w 19"/>
              <a:gd name="T29" fmla="*/ 2147483647 h 14"/>
              <a:gd name="T30" fmla="*/ 2147483647 w 19"/>
              <a:gd name="T31" fmla="*/ 2147483647 h 14"/>
              <a:gd name="T32" fmla="*/ 2147483647 w 19"/>
              <a:gd name="T33" fmla="*/ 2147483647 h 14"/>
              <a:gd name="T34" fmla="*/ 2147483647 w 19"/>
              <a:gd name="T35" fmla="*/ 2147483647 h 14"/>
              <a:gd name="T36" fmla="*/ 2147483647 w 19"/>
              <a:gd name="T37" fmla="*/ 2147483647 h 14"/>
              <a:gd name="T38" fmla="*/ 2147483647 w 19"/>
              <a:gd name="T39" fmla="*/ 2147483647 h 14"/>
              <a:gd name="T40" fmla="*/ 2147483647 w 19"/>
              <a:gd name="T41" fmla="*/ 2147483647 h 14"/>
              <a:gd name="T42" fmla="*/ 2147483647 w 19"/>
              <a:gd name="T43" fmla="*/ 2147483647 h 14"/>
              <a:gd name="T44" fmla="*/ 2147483647 w 19"/>
              <a:gd name="T45" fmla="*/ 0 h 14"/>
              <a:gd name="T46" fmla="*/ 2147483647 w 19"/>
              <a:gd name="T47" fmla="*/ 0 h 14"/>
              <a:gd name="T48" fmla="*/ 2147483647 w 19"/>
              <a:gd name="T49" fmla="*/ 0 h 14"/>
              <a:gd name="T50" fmla="*/ 2147483647 w 19"/>
              <a:gd name="T51" fmla="*/ 0 h 14"/>
              <a:gd name="T52" fmla="*/ 2147483647 w 19"/>
              <a:gd name="T53" fmla="*/ 2147483647 h 14"/>
              <a:gd name="T54" fmla="*/ 2147483647 w 19"/>
              <a:gd name="T55" fmla="*/ 2147483647 h 14"/>
              <a:gd name="T56" fmla="*/ 2147483647 w 19"/>
              <a:gd name="T57" fmla="*/ 2147483647 h 14"/>
              <a:gd name="T58" fmla="*/ 0 w 19"/>
              <a:gd name="T59" fmla="*/ 2147483647 h 14"/>
              <a:gd name="T60" fmla="*/ 0 w 19"/>
              <a:gd name="T61" fmla="*/ 2147483647 h 14"/>
              <a:gd name="T62" fmla="*/ 2147483647 w 19"/>
              <a:gd name="T63" fmla="*/ 2147483647 h 14"/>
              <a:gd name="T64" fmla="*/ 2147483647 w 19"/>
              <a:gd name="T65" fmla="*/ 2147483647 h 14"/>
              <a:gd name="T66" fmla="*/ 2147483647 w 19"/>
              <a:gd name="T67" fmla="*/ 2147483647 h 14"/>
              <a:gd name="T68" fmla="*/ 2147483647 w 19"/>
              <a:gd name="T69" fmla="*/ 2147483647 h 14"/>
              <a:gd name="T70" fmla="*/ 2147483647 w 19"/>
              <a:gd name="T71" fmla="*/ 2147483647 h 14"/>
              <a:gd name="T72" fmla="*/ 2147483647 w 19"/>
              <a:gd name="T73" fmla="*/ 2147483647 h 14"/>
              <a:gd name="T74" fmla="*/ 2147483647 w 19"/>
              <a:gd name="T75" fmla="*/ 2147483647 h 14"/>
              <a:gd name="T76" fmla="*/ 2147483647 w 19"/>
              <a:gd name="T77" fmla="*/ 2147483647 h 14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9"/>
              <a:gd name="T118" fmla="*/ 0 h 14"/>
              <a:gd name="T119" fmla="*/ 19 w 19"/>
              <a:gd name="T120" fmla="*/ 14 h 14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9" h="14">
                <a:moveTo>
                  <a:pt x="4" y="13"/>
                </a:moveTo>
                <a:lnTo>
                  <a:pt x="6" y="13"/>
                </a:lnTo>
                <a:lnTo>
                  <a:pt x="7" y="13"/>
                </a:lnTo>
                <a:lnTo>
                  <a:pt x="8" y="12"/>
                </a:lnTo>
                <a:lnTo>
                  <a:pt x="11" y="12"/>
                </a:lnTo>
                <a:lnTo>
                  <a:pt x="13" y="13"/>
                </a:lnTo>
                <a:lnTo>
                  <a:pt x="14" y="13"/>
                </a:lnTo>
                <a:lnTo>
                  <a:pt x="15" y="13"/>
                </a:lnTo>
                <a:lnTo>
                  <a:pt x="16" y="14"/>
                </a:lnTo>
                <a:lnTo>
                  <a:pt x="17" y="13"/>
                </a:lnTo>
                <a:lnTo>
                  <a:pt x="18" y="13"/>
                </a:lnTo>
                <a:lnTo>
                  <a:pt x="18" y="11"/>
                </a:lnTo>
                <a:lnTo>
                  <a:pt x="19" y="11"/>
                </a:lnTo>
                <a:lnTo>
                  <a:pt x="19" y="10"/>
                </a:lnTo>
                <a:lnTo>
                  <a:pt x="19" y="8"/>
                </a:lnTo>
                <a:lnTo>
                  <a:pt x="19" y="6"/>
                </a:lnTo>
                <a:lnTo>
                  <a:pt x="17" y="5"/>
                </a:lnTo>
                <a:lnTo>
                  <a:pt x="15" y="5"/>
                </a:lnTo>
                <a:lnTo>
                  <a:pt x="12" y="4"/>
                </a:lnTo>
                <a:lnTo>
                  <a:pt x="12" y="1"/>
                </a:lnTo>
                <a:lnTo>
                  <a:pt x="10" y="1"/>
                </a:lnTo>
                <a:lnTo>
                  <a:pt x="9" y="0"/>
                </a:lnTo>
                <a:lnTo>
                  <a:pt x="8" y="0"/>
                </a:lnTo>
                <a:lnTo>
                  <a:pt x="6" y="0"/>
                </a:lnTo>
                <a:lnTo>
                  <a:pt x="4" y="0"/>
                </a:lnTo>
                <a:lnTo>
                  <a:pt x="4" y="1"/>
                </a:lnTo>
                <a:lnTo>
                  <a:pt x="2" y="1"/>
                </a:lnTo>
                <a:lnTo>
                  <a:pt x="2" y="2"/>
                </a:lnTo>
                <a:lnTo>
                  <a:pt x="0" y="2"/>
                </a:lnTo>
                <a:lnTo>
                  <a:pt x="0" y="3"/>
                </a:lnTo>
                <a:lnTo>
                  <a:pt x="1" y="4"/>
                </a:lnTo>
                <a:lnTo>
                  <a:pt x="3" y="5"/>
                </a:lnTo>
                <a:lnTo>
                  <a:pt x="3" y="6"/>
                </a:lnTo>
                <a:lnTo>
                  <a:pt x="3" y="8"/>
                </a:lnTo>
                <a:lnTo>
                  <a:pt x="3" y="10"/>
                </a:lnTo>
                <a:lnTo>
                  <a:pt x="4" y="11"/>
                </a:lnTo>
                <a:lnTo>
                  <a:pt x="4" y="12"/>
                </a:lnTo>
                <a:lnTo>
                  <a:pt x="4" y="13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" name="Freeform 11"/>
          <p:cNvSpPr>
            <a:spLocks/>
          </p:cNvSpPr>
          <p:nvPr/>
        </p:nvSpPr>
        <p:spPr bwMode="auto">
          <a:xfrm>
            <a:off x="2145857" y="4397374"/>
            <a:ext cx="180975" cy="152400"/>
          </a:xfrm>
          <a:custGeom>
            <a:avLst/>
            <a:gdLst>
              <a:gd name="T0" fmla="*/ 2147483647 w 19"/>
              <a:gd name="T1" fmla="*/ 2147483647 h 16"/>
              <a:gd name="T2" fmla="*/ 2147483647 w 19"/>
              <a:gd name="T3" fmla="*/ 2147483647 h 16"/>
              <a:gd name="T4" fmla="*/ 2147483647 w 19"/>
              <a:gd name="T5" fmla="*/ 2147483647 h 16"/>
              <a:gd name="T6" fmla="*/ 2147483647 w 19"/>
              <a:gd name="T7" fmla="*/ 2147483647 h 16"/>
              <a:gd name="T8" fmla="*/ 2147483647 w 19"/>
              <a:gd name="T9" fmla="*/ 2147483647 h 16"/>
              <a:gd name="T10" fmla="*/ 2147483647 w 19"/>
              <a:gd name="T11" fmla="*/ 2147483647 h 16"/>
              <a:gd name="T12" fmla="*/ 2147483647 w 19"/>
              <a:gd name="T13" fmla="*/ 2147483647 h 16"/>
              <a:gd name="T14" fmla="*/ 2147483647 w 19"/>
              <a:gd name="T15" fmla="*/ 2147483647 h 16"/>
              <a:gd name="T16" fmla="*/ 2147483647 w 19"/>
              <a:gd name="T17" fmla="*/ 2147483647 h 16"/>
              <a:gd name="T18" fmla="*/ 2147483647 w 19"/>
              <a:gd name="T19" fmla="*/ 2147483647 h 16"/>
              <a:gd name="T20" fmla="*/ 2147483647 w 19"/>
              <a:gd name="T21" fmla="*/ 2147483647 h 16"/>
              <a:gd name="T22" fmla="*/ 2147483647 w 19"/>
              <a:gd name="T23" fmla="*/ 2147483647 h 16"/>
              <a:gd name="T24" fmla="*/ 2147483647 w 19"/>
              <a:gd name="T25" fmla="*/ 2147483647 h 16"/>
              <a:gd name="T26" fmla="*/ 2147483647 w 19"/>
              <a:gd name="T27" fmla="*/ 2147483647 h 16"/>
              <a:gd name="T28" fmla="*/ 2147483647 w 19"/>
              <a:gd name="T29" fmla="*/ 2147483647 h 16"/>
              <a:gd name="T30" fmla="*/ 2147483647 w 19"/>
              <a:gd name="T31" fmla="*/ 2147483647 h 16"/>
              <a:gd name="T32" fmla="*/ 2147483647 w 19"/>
              <a:gd name="T33" fmla="*/ 2147483647 h 16"/>
              <a:gd name="T34" fmla="*/ 2147483647 w 19"/>
              <a:gd name="T35" fmla="*/ 2147483647 h 16"/>
              <a:gd name="T36" fmla="*/ 2147483647 w 19"/>
              <a:gd name="T37" fmla="*/ 2147483647 h 16"/>
              <a:gd name="T38" fmla="*/ 2147483647 w 19"/>
              <a:gd name="T39" fmla="*/ 2147483647 h 16"/>
              <a:gd name="T40" fmla="*/ 2147483647 w 19"/>
              <a:gd name="T41" fmla="*/ 0 h 16"/>
              <a:gd name="T42" fmla="*/ 2147483647 w 19"/>
              <a:gd name="T43" fmla="*/ 0 h 16"/>
              <a:gd name="T44" fmla="*/ 2147483647 w 19"/>
              <a:gd name="T45" fmla="*/ 2147483647 h 16"/>
              <a:gd name="T46" fmla="*/ 2147483647 w 19"/>
              <a:gd name="T47" fmla="*/ 2147483647 h 16"/>
              <a:gd name="T48" fmla="*/ 2147483647 w 19"/>
              <a:gd name="T49" fmla="*/ 2147483647 h 16"/>
              <a:gd name="T50" fmla="*/ 2147483647 w 19"/>
              <a:gd name="T51" fmla="*/ 2147483647 h 16"/>
              <a:gd name="T52" fmla="*/ 2147483647 w 19"/>
              <a:gd name="T53" fmla="*/ 2147483647 h 16"/>
              <a:gd name="T54" fmla="*/ 0 w 19"/>
              <a:gd name="T55" fmla="*/ 2147483647 h 16"/>
              <a:gd name="T56" fmla="*/ 2147483647 w 19"/>
              <a:gd name="T57" fmla="*/ 2147483647 h 16"/>
              <a:gd name="T58" fmla="*/ 2147483647 w 19"/>
              <a:gd name="T59" fmla="*/ 2147483647 h 16"/>
              <a:gd name="T60" fmla="*/ 2147483647 w 19"/>
              <a:gd name="T61" fmla="*/ 2147483647 h 16"/>
              <a:gd name="T62" fmla="*/ 2147483647 w 19"/>
              <a:gd name="T63" fmla="*/ 2147483647 h 16"/>
              <a:gd name="T64" fmla="*/ 2147483647 w 19"/>
              <a:gd name="T65" fmla="*/ 2147483647 h 16"/>
              <a:gd name="T66" fmla="*/ 2147483647 w 19"/>
              <a:gd name="T67" fmla="*/ 2147483647 h 16"/>
              <a:gd name="T68" fmla="*/ 2147483647 w 19"/>
              <a:gd name="T69" fmla="*/ 2147483647 h 16"/>
              <a:gd name="T70" fmla="*/ 2147483647 w 19"/>
              <a:gd name="T71" fmla="*/ 2147483647 h 16"/>
              <a:gd name="T72" fmla="*/ 2147483647 w 19"/>
              <a:gd name="T73" fmla="*/ 2147483647 h 16"/>
              <a:gd name="T74" fmla="*/ 2147483647 w 19"/>
              <a:gd name="T75" fmla="*/ 2147483647 h 16"/>
              <a:gd name="T76" fmla="*/ 2147483647 w 19"/>
              <a:gd name="T77" fmla="*/ 2147483647 h 16"/>
              <a:gd name="T78" fmla="*/ 2147483647 w 19"/>
              <a:gd name="T79" fmla="*/ 2147483647 h 16"/>
              <a:gd name="T80" fmla="*/ 2147483647 w 19"/>
              <a:gd name="T81" fmla="*/ 2147483647 h 16"/>
              <a:gd name="T82" fmla="*/ 2147483647 w 19"/>
              <a:gd name="T83" fmla="*/ 2147483647 h 1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9"/>
              <a:gd name="T127" fmla="*/ 0 h 16"/>
              <a:gd name="T128" fmla="*/ 19 w 19"/>
              <a:gd name="T129" fmla="*/ 16 h 1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9" h="16">
                <a:moveTo>
                  <a:pt x="8" y="16"/>
                </a:moveTo>
                <a:lnTo>
                  <a:pt x="10" y="16"/>
                </a:lnTo>
                <a:lnTo>
                  <a:pt x="10" y="15"/>
                </a:lnTo>
                <a:lnTo>
                  <a:pt x="12" y="15"/>
                </a:lnTo>
                <a:lnTo>
                  <a:pt x="12" y="14"/>
                </a:lnTo>
                <a:lnTo>
                  <a:pt x="14" y="14"/>
                </a:lnTo>
                <a:lnTo>
                  <a:pt x="16" y="14"/>
                </a:lnTo>
                <a:lnTo>
                  <a:pt x="16" y="11"/>
                </a:lnTo>
                <a:lnTo>
                  <a:pt x="16" y="9"/>
                </a:lnTo>
                <a:lnTo>
                  <a:pt x="17" y="8"/>
                </a:lnTo>
                <a:lnTo>
                  <a:pt x="19" y="8"/>
                </a:lnTo>
                <a:lnTo>
                  <a:pt x="19" y="7"/>
                </a:lnTo>
                <a:lnTo>
                  <a:pt x="18" y="5"/>
                </a:lnTo>
                <a:lnTo>
                  <a:pt x="17" y="3"/>
                </a:lnTo>
                <a:lnTo>
                  <a:pt x="16" y="1"/>
                </a:lnTo>
                <a:lnTo>
                  <a:pt x="15" y="1"/>
                </a:lnTo>
                <a:lnTo>
                  <a:pt x="14" y="3"/>
                </a:lnTo>
                <a:lnTo>
                  <a:pt x="12" y="4"/>
                </a:lnTo>
                <a:lnTo>
                  <a:pt x="10" y="3"/>
                </a:lnTo>
                <a:lnTo>
                  <a:pt x="9" y="1"/>
                </a:lnTo>
                <a:lnTo>
                  <a:pt x="8" y="0"/>
                </a:lnTo>
                <a:lnTo>
                  <a:pt x="7" y="0"/>
                </a:lnTo>
                <a:lnTo>
                  <a:pt x="5" y="1"/>
                </a:lnTo>
                <a:lnTo>
                  <a:pt x="4" y="2"/>
                </a:lnTo>
                <a:lnTo>
                  <a:pt x="3" y="1"/>
                </a:lnTo>
                <a:lnTo>
                  <a:pt x="3" y="2"/>
                </a:lnTo>
                <a:lnTo>
                  <a:pt x="1" y="3"/>
                </a:lnTo>
                <a:lnTo>
                  <a:pt x="0" y="3"/>
                </a:lnTo>
                <a:lnTo>
                  <a:pt x="1" y="4"/>
                </a:lnTo>
                <a:lnTo>
                  <a:pt x="2" y="4"/>
                </a:lnTo>
                <a:lnTo>
                  <a:pt x="2" y="6"/>
                </a:lnTo>
                <a:lnTo>
                  <a:pt x="3" y="6"/>
                </a:lnTo>
                <a:lnTo>
                  <a:pt x="3" y="8"/>
                </a:lnTo>
                <a:lnTo>
                  <a:pt x="4" y="9"/>
                </a:lnTo>
                <a:lnTo>
                  <a:pt x="4" y="10"/>
                </a:lnTo>
                <a:lnTo>
                  <a:pt x="4" y="12"/>
                </a:lnTo>
                <a:lnTo>
                  <a:pt x="4" y="13"/>
                </a:lnTo>
                <a:lnTo>
                  <a:pt x="5" y="13"/>
                </a:lnTo>
                <a:lnTo>
                  <a:pt x="5" y="14"/>
                </a:lnTo>
                <a:lnTo>
                  <a:pt x="6" y="15"/>
                </a:lnTo>
                <a:lnTo>
                  <a:pt x="7" y="16"/>
                </a:lnTo>
                <a:lnTo>
                  <a:pt x="8" y="16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2" name="Freeform 12"/>
          <p:cNvSpPr>
            <a:spLocks/>
          </p:cNvSpPr>
          <p:nvPr/>
        </p:nvSpPr>
        <p:spPr bwMode="auto">
          <a:xfrm>
            <a:off x="2069657" y="4016374"/>
            <a:ext cx="352425" cy="419100"/>
          </a:xfrm>
          <a:custGeom>
            <a:avLst/>
            <a:gdLst>
              <a:gd name="T0" fmla="*/ 2147483647 w 37"/>
              <a:gd name="T1" fmla="*/ 2147483647 h 44"/>
              <a:gd name="T2" fmla="*/ 2147483647 w 37"/>
              <a:gd name="T3" fmla="*/ 2147483647 h 44"/>
              <a:gd name="T4" fmla="*/ 2147483647 w 37"/>
              <a:gd name="T5" fmla="*/ 2147483647 h 44"/>
              <a:gd name="T6" fmla="*/ 2147483647 w 37"/>
              <a:gd name="T7" fmla="*/ 2147483647 h 44"/>
              <a:gd name="T8" fmla="*/ 2147483647 w 37"/>
              <a:gd name="T9" fmla="*/ 2147483647 h 44"/>
              <a:gd name="T10" fmla="*/ 2147483647 w 37"/>
              <a:gd name="T11" fmla="*/ 2147483647 h 44"/>
              <a:gd name="T12" fmla="*/ 2147483647 w 37"/>
              <a:gd name="T13" fmla="*/ 2147483647 h 44"/>
              <a:gd name="T14" fmla="*/ 2147483647 w 37"/>
              <a:gd name="T15" fmla="*/ 2147483647 h 44"/>
              <a:gd name="T16" fmla="*/ 2147483647 w 37"/>
              <a:gd name="T17" fmla="*/ 2147483647 h 44"/>
              <a:gd name="T18" fmla="*/ 2147483647 w 37"/>
              <a:gd name="T19" fmla="*/ 2147483647 h 44"/>
              <a:gd name="T20" fmla="*/ 2147483647 w 37"/>
              <a:gd name="T21" fmla="*/ 2147483647 h 44"/>
              <a:gd name="T22" fmla="*/ 2147483647 w 37"/>
              <a:gd name="T23" fmla="*/ 2147483647 h 44"/>
              <a:gd name="T24" fmla="*/ 2147483647 w 37"/>
              <a:gd name="T25" fmla="*/ 2147483647 h 44"/>
              <a:gd name="T26" fmla="*/ 2147483647 w 37"/>
              <a:gd name="T27" fmla="*/ 2147483647 h 44"/>
              <a:gd name="T28" fmla="*/ 2147483647 w 37"/>
              <a:gd name="T29" fmla="*/ 2147483647 h 44"/>
              <a:gd name="T30" fmla="*/ 2147483647 w 37"/>
              <a:gd name="T31" fmla="*/ 2147483647 h 44"/>
              <a:gd name="T32" fmla="*/ 2147483647 w 37"/>
              <a:gd name="T33" fmla="*/ 2147483647 h 44"/>
              <a:gd name="T34" fmla="*/ 2147483647 w 37"/>
              <a:gd name="T35" fmla="*/ 2147483647 h 44"/>
              <a:gd name="T36" fmla="*/ 2147483647 w 37"/>
              <a:gd name="T37" fmla="*/ 2147483647 h 44"/>
              <a:gd name="T38" fmla="*/ 2147483647 w 37"/>
              <a:gd name="T39" fmla="*/ 2147483647 h 44"/>
              <a:gd name="T40" fmla="*/ 2147483647 w 37"/>
              <a:gd name="T41" fmla="*/ 2147483647 h 44"/>
              <a:gd name="T42" fmla="*/ 2147483647 w 37"/>
              <a:gd name="T43" fmla="*/ 2147483647 h 44"/>
              <a:gd name="T44" fmla="*/ 2147483647 w 37"/>
              <a:gd name="T45" fmla="*/ 2147483647 h 44"/>
              <a:gd name="T46" fmla="*/ 2147483647 w 37"/>
              <a:gd name="T47" fmla="*/ 2147483647 h 44"/>
              <a:gd name="T48" fmla="*/ 2147483647 w 37"/>
              <a:gd name="T49" fmla="*/ 2147483647 h 44"/>
              <a:gd name="T50" fmla="*/ 0 w 37"/>
              <a:gd name="T51" fmla="*/ 2147483647 h 44"/>
              <a:gd name="T52" fmla="*/ 2147483647 w 37"/>
              <a:gd name="T53" fmla="*/ 2147483647 h 44"/>
              <a:gd name="T54" fmla="*/ 2147483647 w 37"/>
              <a:gd name="T55" fmla="*/ 2147483647 h 44"/>
              <a:gd name="T56" fmla="*/ 2147483647 w 37"/>
              <a:gd name="T57" fmla="*/ 2147483647 h 44"/>
              <a:gd name="T58" fmla="*/ 2147483647 w 37"/>
              <a:gd name="T59" fmla="*/ 2147483647 h 44"/>
              <a:gd name="T60" fmla="*/ 2147483647 w 37"/>
              <a:gd name="T61" fmla="*/ 2147483647 h 44"/>
              <a:gd name="T62" fmla="*/ 2147483647 w 37"/>
              <a:gd name="T63" fmla="*/ 2147483647 h 44"/>
              <a:gd name="T64" fmla="*/ 2147483647 w 37"/>
              <a:gd name="T65" fmla="*/ 2147483647 h 44"/>
              <a:gd name="T66" fmla="*/ 2147483647 w 37"/>
              <a:gd name="T67" fmla="*/ 2147483647 h 44"/>
              <a:gd name="T68" fmla="*/ 2147483647 w 37"/>
              <a:gd name="T69" fmla="*/ 2147483647 h 44"/>
              <a:gd name="T70" fmla="*/ 2147483647 w 37"/>
              <a:gd name="T71" fmla="*/ 2147483647 h 44"/>
              <a:gd name="T72" fmla="*/ 2147483647 w 37"/>
              <a:gd name="T73" fmla="*/ 2147483647 h 44"/>
              <a:gd name="T74" fmla="*/ 2147483647 w 37"/>
              <a:gd name="T75" fmla="*/ 2147483647 h 44"/>
              <a:gd name="T76" fmla="*/ 2147483647 w 37"/>
              <a:gd name="T77" fmla="*/ 0 h 44"/>
              <a:gd name="T78" fmla="*/ 2147483647 w 37"/>
              <a:gd name="T79" fmla="*/ 2147483647 h 44"/>
              <a:gd name="T80" fmla="*/ 2147483647 w 37"/>
              <a:gd name="T81" fmla="*/ 2147483647 h 44"/>
              <a:gd name="T82" fmla="*/ 2147483647 w 37"/>
              <a:gd name="T83" fmla="*/ 2147483647 h 44"/>
              <a:gd name="T84" fmla="*/ 2147483647 w 37"/>
              <a:gd name="T85" fmla="*/ 2147483647 h 44"/>
              <a:gd name="T86" fmla="*/ 2147483647 w 37"/>
              <a:gd name="T87" fmla="*/ 2147483647 h 44"/>
              <a:gd name="T88" fmla="*/ 2147483647 w 37"/>
              <a:gd name="T89" fmla="*/ 2147483647 h 44"/>
              <a:gd name="T90" fmla="*/ 2147483647 w 37"/>
              <a:gd name="T91" fmla="*/ 2147483647 h 44"/>
              <a:gd name="T92" fmla="*/ 2147483647 w 37"/>
              <a:gd name="T93" fmla="*/ 2147483647 h 44"/>
              <a:gd name="T94" fmla="*/ 2147483647 w 37"/>
              <a:gd name="T95" fmla="*/ 2147483647 h 44"/>
              <a:gd name="T96" fmla="*/ 2147483647 w 37"/>
              <a:gd name="T97" fmla="*/ 2147483647 h 44"/>
              <a:gd name="T98" fmla="*/ 2147483647 w 37"/>
              <a:gd name="T99" fmla="*/ 2147483647 h 44"/>
              <a:gd name="T100" fmla="*/ 2147483647 w 37"/>
              <a:gd name="T101" fmla="*/ 2147483647 h 44"/>
              <a:gd name="T102" fmla="*/ 2147483647 w 37"/>
              <a:gd name="T103" fmla="*/ 2147483647 h 44"/>
              <a:gd name="T104" fmla="*/ 2147483647 w 37"/>
              <a:gd name="T105" fmla="*/ 2147483647 h 4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37"/>
              <a:gd name="T160" fmla="*/ 0 h 44"/>
              <a:gd name="T161" fmla="*/ 37 w 37"/>
              <a:gd name="T162" fmla="*/ 44 h 4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37" h="44">
                <a:moveTo>
                  <a:pt x="35" y="26"/>
                </a:moveTo>
                <a:lnTo>
                  <a:pt x="34" y="26"/>
                </a:lnTo>
                <a:lnTo>
                  <a:pt x="34" y="27"/>
                </a:lnTo>
                <a:lnTo>
                  <a:pt x="33" y="28"/>
                </a:lnTo>
                <a:lnTo>
                  <a:pt x="32" y="28"/>
                </a:lnTo>
                <a:lnTo>
                  <a:pt x="31" y="26"/>
                </a:lnTo>
                <a:lnTo>
                  <a:pt x="28" y="26"/>
                </a:lnTo>
                <a:lnTo>
                  <a:pt x="29" y="29"/>
                </a:lnTo>
                <a:lnTo>
                  <a:pt x="27" y="30"/>
                </a:lnTo>
                <a:lnTo>
                  <a:pt x="27" y="32"/>
                </a:lnTo>
                <a:lnTo>
                  <a:pt x="28" y="32"/>
                </a:lnTo>
                <a:lnTo>
                  <a:pt x="28" y="34"/>
                </a:lnTo>
                <a:lnTo>
                  <a:pt x="27" y="35"/>
                </a:lnTo>
                <a:lnTo>
                  <a:pt x="27" y="36"/>
                </a:lnTo>
                <a:lnTo>
                  <a:pt x="28" y="36"/>
                </a:lnTo>
                <a:lnTo>
                  <a:pt x="27" y="37"/>
                </a:lnTo>
                <a:lnTo>
                  <a:pt x="24" y="38"/>
                </a:lnTo>
                <a:lnTo>
                  <a:pt x="24" y="41"/>
                </a:lnTo>
                <a:lnTo>
                  <a:pt x="23" y="41"/>
                </a:lnTo>
                <a:lnTo>
                  <a:pt x="22" y="43"/>
                </a:lnTo>
                <a:lnTo>
                  <a:pt x="20" y="44"/>
                </a:lnTo>
                <a:lnTo>
                  <a:pt x="18" y="43"/>
                </a:lnTo>
                <a:lnTo>
                  <a:pt x="17" y="41"/>
                </a:lnTo>
                <a:lnTo>
                  <a:pt x="16" y="40"/>
                </a:lnTo>
                <a:lnTo>
                  <a:pt x="15" y="40"/>
                </a:lnTo>
                <a:lnTo>
                  <a:pt x="13" y="41"/>
                </a:lnTo>
                <a:lnTo>
                  <a:pt x="12" y="42"/>
                </a:lnTo>
                <a:lnTo>
                  <a:pt x="11" y="41"/>
                </a:lnTo>
                <a:lnTo>
                  <a:pt x="11" y="42"/>
                </a:lnTo>
                <a:lnTo>
                  <a:pt x="9" y="43"/>
                </a:lnTo>
                <a:lnTo>
                  <a:pt x="8" y="43"/>
                </a:lnTo>
                <a:lnTo>
                  <a:pt x="7" y="42"/>
                </a:lnTo>
                <a:lnTo>
                  <a:pt x="7" y="40"/>
                </a:lnTo>
                <a:lnTo>
                  <a:pt x="5" y="40"/>
                </a:lnTo>
                <a:lnTo>
                  <a:pt x="5" y="41"/>
                </a:lnTo>
                <a:lnTo>
                  <a:pt x="3" y="41"/>
                </a:lnTo>
                <a:lnTo>
                  <a:pt x="4" y="38"/>
                </a:lnTo>
                <a:lnTo>
                  <a:pt x="4" y="36"/>
                </a:lnTo>
                <a:lnTo>
                  <a:pt x="4" y="33"/>
                </a:lnTo>
                <a:lnTo>
                  <a:pt x="5" y="32"/>
                </a:lnTo>
                <a:lnTo>
                  <a:pt x="5" y="29"/>
                </a:lnTo>
                <a:lnTo>
                  <a:pt x="5" y="28"/>
                </a:lnTo>
                <a:lnTo>
                  <a:pt x="5" y="26"/>
                </a:lnTo>
                <a:lnTo>
                  <a:pt x="5" y="24"/>
                </a:lnTo>
                <a:lnTo>
                  <a:pt x="4" y="22"/>
                </a:lnTo>
                <a:lnTo>
                  <a:pt x="3" y="20"/>
                </a:lnTo>
                <a:lnTo>
                  <a:pt x="3" y="18"/>
                </a:lnTo>
                <a:lnTo>
                  <a:pt x="3" y="15"/>
                </a:lnTo>
                <a:lnTo>
                  <a:pt x="2" y="14"/>
                </a:lnTo>
                <a:lnTo>
                  <a:pt x="1" y="12"/>
                </a:lnTo>
                <a:lnTo>
                  <a:pt x="0" y="11"/>
                </a:lnTo>
                <a:lnTo>
                  <a:pt x="1" y="10"/>
                </a:lnTo>
                <a:lnTo>
                  <a:pt x="1" y="9"/>
                </a:lnTo>
                <a:lnTo>
                  <a:pt x="2" y="9"/>
                </a:lnTo>
                <a:lnTo>
                  <a:pt x="2" y="7"/>
                </a:lnTo>
                <a:lnTo>
                  <a:pt x="2" y="5"/>
                </a:lnTo>
                <a:lnTo>
                  <a:pt x="2" y="3"/>
                </a:lnTo>
                <a:lnTo>
                  <a:pt x="3" y="2"/>
                </a:lnTo>
                <a:lnTo>
                  <a:pt x="5" y="2"/>
                </a:lnTo>
                <a:lnTo>
                  <a:pt x="6" y="3"/>
                </a:lnTo>
                <a:lnTo>
                  <a:pt x="6" y="4"/>
                </a:lnTo>
                <a:lnTo>
                  <a:pt x="7" y="6"/>
                </a:lnTo>
                <a:lnTo>
                  <a:pt x="8" y="7"/>
                </a:lnTo>
                <a:lnTo>
                  <a:pt x="8" y="8"/>
                </a:lnTo>
                <a:lnTo>
                  <a:pt x="9" y="8"/>
                </a:lnTo>
                <a:lnTo>
                  <a:pt x="10" y="8"/>
                </a:lnTo>
                <a:lnTo>
                  <a:pt x="11" y="6"/>
                </a:lnTo>
                <a:lnTo>
                  <a:pt x="12" y="5"/>
                </a:lnTo>
                <a:lnTo>
                  <a:pt x="15" y="5"/>
                </a:lnTo>
                <a:lnTo>
                  <a:pt x="18" y="5"/>
                </a:lnTo>
                <a:lnTo>
                  <a:pt x="19" y="6"/>
                </a:lnTo>
                <a:lnTo>
                  <a:pt x="20" y="6"/>
                </a:lnTo>
                <a:lnTo>
                  <a:pt x="21" y="6"/>
                </a:lnTo>
                <a:lnTo>
                  <a:pt x="21" y="4"/>
                </a:lnTo>
                <a:lnTo>
                  <a:pt x="21" y="2"/>
                </a:lnTo>
                <a:lnTo>
                  <a:pt x="21" y="0"/>
                </a:lnTo>
                <a:lnTo>
                  <a:pt x="24" y="0"/>
                </a:lnTo>
                <a:lnTo>
                  <a:pt x="25" y="0"/>
                </a:lnTo>
                <a:lnTo>
                  <a:pt x="26" y="2"/>
                </a:lnTo>
                <a:lnTo>
                  <a:pt x="26" y="4"/>
                </a:lnTo>
                <a:lnTo>
                  <a:pt x="28" y="4"/>
                </a:lnTo>
                <a:lnTo>
                  <a:pt x="28" y="6"/>
                </a:lnTo>
                <a:lnTo>
                  <a:pt x="29" y="7"/>
                </a:lnTo>
                <a:lnTo>
                  <a:pt x="29" y="8"/>
                </a:lnTo>
                <a:lnTo>
                  <a:pt x="32" y="8"/>
                </a:lnTo>
                <a:lnTo>
                  <a:pt x="33" y="9"/>
                </a:lnTo>
                <a:lnTo>
                  <a:pt x="34" y="10"/>
                </a:lnTo>
                <a:lnTo>
                  <a:pt x="35" y="11"/>
                </a:lnTo>
                <a:lnTo>
                  <a:pt x="36" y="12"/>
                </a:lnTo>
                <a:lnTo>
                  <a:pt x="36" y="13"/>
                </a:lnTo>
                <a:lnTo>
                  <a:pt x="34" y="14"/>
                </a:lnTo>
                <a:lnTo>
                  <a:pt x="33" y="15"/>
                </a:lnTo>
                <a:lnTo>
                  <a:pt x="32" y="16"/>
                </a:lnTo>
                <a:lnTo>
                  <a:pt x="32" y="17"/>
                </a:lnTo>
                <a:lnTo>
                  <a:pt x="33" y="17"/>
                </a:lnTo>
                <a:lnTo>
                  <a:pt x="33" y="19"/>
                </a:lnTo>
                <a:lnTo>
                  <a:pt x="35" y="20"/>
                </a:lnTo>
                <a:lnTo>
                  <a:pt x="36" y="20"/>
                </a:lnTo>
                <a:lnTo>
                  <a:pt x="36" y="21"/>
                </a:lnTo>
                <a:lnTo>
                  <a:pt x="37" y="22"/>
                </a:lnTo>
                <a:lnTo>
                  <a:pt x="36" y="23"/>
                </a:lnTo>
                <a:lnTo>
                  <a:pt x="35" y="23"/>
                </a:lnTo>
                <a:lnTo>
                  <a:pt x="35" y="25"/>
                </a:lnTo>
                <a:lnTo>
                  <a:pt x="35" y="26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 anchor="b"/>
          <a:lstStyle/>
          <a:p>
            <a:endParaRPr lang="ru-RU">
              <a:solidFill>
                <a:schemeClr val="tx2"/>
              </a:solidFill>
            </a:endParaRPr>
          </a:p>
        </p:txBody>
      </p:sp>
      <p:sp>
        <p:nvSpPr>
          <p:cNvPr id="23" name="Freeform 13"/>
          <p:cNvSpPr>
            <a:spLocks/>
          </p:cNvSpPr>
          <p:nvPr/>
        </p:nvSpPr>
        <p:spPr bwMode="auto">
          <a:xfrm>
            <a:off x="2145857" y="4187824"/>
            <a:ext cx="133350" cy="190500"/>
          </a:xfrm>
          <a:custGeom>
            <a:avLst/>
            <a:gdLst>
              <a:gd name="T0" fmla="*/ 2147483647 w 14"/>
              <a:gd name="T1" fmla="*/ 0 h 20"/>
              <a:gd name="T2" fmla="*/ 2147483647 w 14"/>
              <a:gd name="T3" fmla="*/ 0 h 20"/>
              <a:gd name="T4" fmla="*/ 2147483647 w 14"/>
              <a:gd name="T5" fmla="*/ 2147483647 h 20"/>
              <a:gd name="T6" fmla="*/ 2147483647 w 14"/>
              <a:gd name="T7" fmla="*/ 2147483647 h 20"/>
              <a:gd name="T8" fmla="*/ 2147483647 w 14"/>
              <a:gd name="T9" fmla="*/ 2147483647 h 20"/>
              <a:gd name="T10" fmla="*/ 2147483647 w 14"/>
              <a:gd name="T11" fmla="*/ 2147483647 h 20"/>
              <a:gd name="T12" fmla="*/ 2147483647 w 14"/>
              <a:gd name="T13" fmla="*/ 2147483647 h 20"/>
              <a:gd name="T14" fmla="*/ 2147483647 w 14"/>
              <a:gd name="T15" fmla="*/ 2147483647 h 20"/>
              <a:gd name="T16" fmla="*/ 2147483647 w 14"/>
              <a:gd name="T17" fmla="*/ 2147483647 h 20"/>
              <a:gd name="T18" fmla="*/ 2147483647 w 14"/>
              <a:gd name="T19" fmla="*/ 2147483647 h 20"/>
              <a:gd name="T20" fmla="*/ 2147483647 w 14"/>
              <a:gd name="T21" fmla="*/ 2147483647 h 20"/>
              <a:gd name="T22" fmla="*/ 2147483647 w 14"/>
              <a:gd name="T23" fmla="*/ 2147483647 h 20"/>
              <a:gd name="T24" fmla="*/ 2147483647 w 14"/>
              <a:gd name="T25" fmla="*/ 2147483647 h 20"/>
              <a:gd name="T26" fmla="*/ 2147483647 w 14"/>
              <a:gd name="T27" fmla="*/ 2147483647 h 20"/>
              <a:gd name="T28" fmla="*/ 2147483647 w 14"/>
              <a:gd name="T29" fmla="*/ 2147483647 h 20"/>
              <a:gd name="T30" fmla="*/ 2147483647 w 14"/>
              <a:gd name="T31" fmla="*/ 2147483647 h 20"/>
              <a:gd name="T32" fmla="*/ 2147483647 w 14"/>
              <a:gd name="T33" fmla="*/ 2147483647 h 20"/>
              <a:gd name="T34" fmla="*/ 2147483647 w 14"/>
              <a:gd name="T35" fmla="*/ 2147483647 h 20"/>
              <a:gd name="T36" fmla="*/ 2147483647 w 14"/>
              <a:gd name="T37" fmla="*/ 2147483647 h 20"/>
              <a:gd name="T38" fmla="*/ 2147483647 w 14"/>
              <a:gd name="T39" fmla="*/ 2147483647 h 20"/>
              <a:gd name="T40" fmla="*/ 2147483647 w 14"/>
              <a:gd name="T41" fmla="*/ 2147483647 h 20"/>
              <a:gd name="T42" fmla="*/ 2147483647 w 14"/>
              <a:gd name="T43" fmla="*/ 2147483647 h 20"/>
              <a:gd name="T44" fmla="*/ 2147483647 w 14"/>
              <a:gd name="T45" fmla="*/ 2147483647 h 20"/>
              <a:gd name="T46" fmla="*/ 2147483647 w 14"/>
              <a:gd name="T47" fmla="*/ 2147483647 h 20"/>
              <a:gd name="T48" fmla="*/ 2147483647 w 14"/>
              <a:gd name="T49" fmla="*/ 2147483647 h 20"/>
              <a:gd name="T50" fmla="*/ 2147483647 w 14"/>
              <a:gd name="T51" fmla="*/ 2147483647 h 20"/>
              <a:gd name="T52" fmla="*/ 2147483647 w 14"/>
              <a:gd name="T53" fmla="*/ 2147483647 h 20"/>
              <a:gd name="T54" fmla="*/ 2147483647 w 14"/>
              <a:gd name="T55" fmla="*/ 2147483647 h 20"/>
              <a:gd name="T56" fmla="*/ 2147483647 w 14"/>
              <a:gd name="T57" fmla="*/ 2147483647 h 20"/>
              <a:gd name="T58" fmla="*/ 2147483647 w 14"/>
              <a:gd name="T59" fmla="*/ 2147483647 h 20"/>
              <a:gd name="T60" fmla="*/ 0 w 14"/>
              <a:gd name="T61" fmla="*/ 2147483647 h 20"/>
              <a:gd name="T62" fmla="*/ 0 w 14"/>
              <a:gd name="T63" fmla="*/ 2147483647 h 20"/>
              <a:gd name="T64" fmla="*/ 0 w 14"/>
              <a:gd name="T65" fmla="*/ 2147483647 h 20"/>
              <a:gd name="T66" fmla="*/ 2147483647 w 14"/>
              <a:gd name="T67" fmla="*/ 2147483647 h 20"/>
              <a:gd name="T68" fmla="*/ 2147483647 w 14"/>
              <a:gd name="T69" fmla="*/ 2147483647 h 20"/>
              <a:gd name="T70" fmla="*/ 2147483647 w 14"/>
              <a:gd name="T71" fmla="*/ 2147483647 h 20"/>
              <a:gd name="T72" fmla="*/ 2147483647 w 14"/>
              <a:gd name="T73" fmla="*/ 2147483647 h 20"/>
              <a:gd name="T74" fmla="*/ 2147483647 w 14"/>
              <a:gd name="T75" fmla="*/ 2147483647 h 20"/>
              <a:gd name="T76" fmla="*/ 2147483647 w 14"/>
              <a:gd name="T77" fmla="*/ 2147483647 h 20"/>
              <a:gd name="T78" fmla="*/ 2147483647 w 14"/>
              <a:gd name="T79" fmla="*/ 2147483647 h 20"/>
              <a:gd name="T80" fmla="*/ 2147483647 w 14"/>
              <a:gd name="T81" fmla="*/ 2147483647 h 20"/>
              <a:gd name="T82" fmla="*/ 2147483647 w 14"/>
              <a:gd name="T83" fmla="*/ 2147483647 h 20"/>
              <a:gd name="T84" fmla="*/ 2147483647 w 14"/>
              <a:gd name="T85" fmla="*/ 2147483647 h 20"/>
              <a:gd name="T86" fmla="*/ 2147483647 w 14"/>
              <a:gd name="T87" fmla="*/ 2147483647 h 20"/>
              <a:gd name="T88" fmla="*/ 2147483647 w 14"/>
              <a:gd name="T89" fmla="*/ 2147483647 h 20"/>
              <a:gd name="T90" fmla="*/ 2147483647 w 14"/>
              <a:gd name="T91" fmla="*/ 2147483647 h 20"/>
              <a:gd name="T92" fmla="*/ 2147483647 w 14"/>
              <a:gd name="T93" fmla="*/ 2147483647 h 20"/>
              <a:gd name="T94" fmla="*/ 2147483647 w 14"/>
              <a:gd name="T95" fmla="*/ 2147483647 h 20"/>
              <a:gd name="T96" fmla="*/ 2147483647 w 14"/>
              <a:gd name="T97" fmla="*/ 2147483647 h 20"/>
              <a:gd name="T98" fmla="*/ 2147483647 w 14"/>
              <a:gd name="T99" fmla="*/ 0 h 20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4"/>
              <a:gd name="T151" fmla="*/ 0 h 20"/>
              <a:gd name="T152" fmla="*/ 14 w 14"/>
              <a:gd name="T153" fmla="*/ 20 h 20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4" h="20">
                <a:moveTo>
                  <a:pt x="3" y="0"/>
                </a:moveTo>
                <a:lnTo>
                  <a:pt x="4" y="0"/>
                </a:lnTo>
                <a:lnTo>
                  <a:pt x="5" y="1"/>
                </a:lnTo>
                <a:lnTo>
                  <a:pt x="6" y="3"/>
                </a:lnTo>
                <a:lnTo>
                  <a:pt x="8" y="4"/>
                </a:lnTo>
                <a:lnTo>
                  <a:pt x="10" y="3"/>
                </a:lnTo>
                <a:lnTo>
                  <a:pt x="11" y="5"/>
                </a:lnTo>
                <a:lnTo>
                  <a:pt x="11" y="6"/>
                </a:lnTo>
                <a:lnTo>
                  <a:pt x="12" y="7"/>
                </a:lnTo>
                <a:lnTo>
                  <a:pt x="12" y="8"/>
                </a:lnTo>
                <a:lnTo>
                  <a:pt x="13" y="9"/>
                </a:lnTo>
                <a:lnTo>
                  <a:pt x="14" y="11"/>
                </a:lnTo>
                <a:lnTo>
                  <a:pt x="14" y="12"/>
                </a:lnTo>
                <a:lnTo>
                  <a:pt x="14" y="13"/>
                </a:lnTo>
                <a:lnTo>
                  <a:pt x="13" y="14"/>
                </a:lnTo>
                <a:lnTo>
                  <a:pt x="12" y="15"/>
                </a:lnTo>
                <a:lnTo>
                  <a:pt x="11" y="16"/>
                </a:lnTo>
                <a:lnTo>
                  <a:pt x="11" y="18"/>
                </a:lnTo>
                <a:cubicBezTo>
                  <a:pt x="11" y="18"/>
                  <a:pt x="10" y="17"/>
                  <a:pt x="10" y="17"/>
                </a:cubicBezTo>
                <a:cubicBezTo>
                  <a:pt x="10" y="16"/>
                  <a:pt x="10" y="15"/>
                  <a:pt x="10" y="15"/>
                </a:cubicBezTo>
                <a:lnTo>
                  <a:pt x="9" y="14"/>
                </a:lnTo>
                <a:lnTo>
                  <a:pt x="8" y="15"/>
                </a:lnTo>
                <a:lnTo>
                  <a:pt x="8" y="16"/>
                </a:lnTo>
                <a:lnTo>
                  <a:pt x="6" y="17"/>
                </a:lnTo>
                <a:lnTo>
                  <a:pt x="5" y="17"/>
                </a:lnTo>
                <a:lnTo>
                  <a:pt x="5" y="19"/>
                </a:lnTo>
                <a:lnTo>
                  <a:pt x="4" y="19"/>
                </a:lnTo>
                <a:lnTo>
                  <a:pt x="4" y="20"/>
                </a:lnTo>
                <a:lnTo>
                  <a:pt x="2" y="20"/>
                </a:lnTo>
                <a:lnTo>
                  <a:pt x="1" y="19"/>
                </a:lnTo>
                <a:lnTo>
                  <a:pt x="0" y="19"/>
                </a:lnTo>
                <a:lnTo>
                  <a:pt x="0" y="17"/>
                </a:lnTo>
                <a:lnTo>
                  <a:pt x="0" y="15"/>
                </a:lnTo>
                <a:lnTo>
                  <a:pt x="3" y="15"/>
                </a:lnTo>
                <a:lnTo>
                  <a:pt x="3" y="14"/>
                </a:lnTo>
                <a:lnTo>
                  <a:pt x="4" y="13"/>
                </a:lnTo>
                <a:lnTo>
                  <a:pt x="4" y="12"/>
                </a:lnTo>
                <a:lnTo>
                  <a:pt x="5" y="12"/>
                </a:lnTo>
                <a:lnTo>
                  <a:pt x="6" y="11"/>
                </a:lnTo>
                <a:lnTo>
                  <a:pt x="7" y="11"/>
                </a:lnTo>
                <a:lnTo>
                  <a:pt x="7" y="10"/>
                </a:lnTo>
                <a:lnTo>
                  <a:pt x="8" y="9"/>
                </a:lnTo>
                <a:lnTo>
                  <a:pt x="9" y="9"/>
                </a:lnTo>
                <a:lnTo>
                  <a:pt x="9" y="7"/>
                </a:lnTo>
                <a:lnTo>
                  <a:pt x="8" y="6"/>
                </a:lnTo>
                <a:lnTo>
                  <a:pt x="6" y="7"/>
                </a:lnTo>
                <a:lnTo>
                  <a:pt x="5" y="5"/>
                </a:lnTo>
                <a:lnTo>
                  <a:pt x="4" y="4"/>
                </a:lnTo>
                <a:lnTo>
                  <a:pt x="3" y="2"/>
                </a:lnTo>
                <a:lnTo>
                  <a:pt x="3" y="0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4" name="Freeform 14"/>
          <p:cNvSpPr>
            <a:spLocks/>
          </p:cNvSpPr>
          <p:nvPr/>
        </p:nvSpPr>
        <p:spPr bwMode="auto">
          <a:xfrm>
            <a:off x="2336357" y="3911599"/>
            <a:ext cx="438150" cy="476250"/>
          </a:xfrm>
          <a:custGeom>
            <a:avLst/>
            <a:gdLst>
              <a:gd name="T0" fmla="*/ 0 w 46"/>
              <a:gd name="T1" fmla="*/ 2147483647 h 50"/>
              <a:gd name="T2" fmla="*/ 2147483647 w 46"/>
              <a:gd name="T3" fmla="*/ 2147483647 h 50"/>
              <a:gd name="T4" fmla="*/ 2147483647 w 46"/>
              <a:gd name="T5" fmla="*/ 2147483647 h 50"/>
              <a:gd name="T6" fmla="*/ 2147483647 w 46"/>
              <a:gd name="T7" fmla="*/ 2147483647 h 50"/>
              <a:gd name="T8" fmla="*/ 2147483647 w 46"/>
              <a:gd name="T9" fmla="*/ 2147483647 h 50"/>
              <a:gd name="T10" fmla="*/ 2147483647 w 46"/>
              <a:gd name="T11" fmla="*/ 2147483647 h 50"/>
              <a:gd name="T12" fmla="*/ 2147483647 w 46"/>
              <a:gd name="T13" fmla="*/ 2147483647 h 50"/>
              <a:gd name="T14" fmla="*/ 2147483647 w 46"/>
              <a:gd name="T15" fmla="*/ 2147483647 h 50"/>
              <a:gd name="T16" fmla="*/ 2147483647 w 46"/>
              <a:gd name="T17" fmla="*/ 2147483647 h 50"/>
              <a:gd name="T18" fmla="*/ 2147483647 w 46"/>
              <a:gd name="T19" fmla="*/ 2147483647 h 50"/>
              <a:gd name="T20" fmla="*/ 2147483647 w 46"/>
              <a:gd name="T21" fmla="*/ 2147483647 h 50"/>
              <a:gd name="T22" fmla="*/ 2147483647 w 46"/>
              <a:gd name="T23" fmla="*/ 2147483647 h 50"/>
              <a:gd name="T24" fmla="*/ 2147483647 w 46"/>
              <a:gd name="T25" fmla="*/ 2147483647 h 50"/>
              <a:gd name="T26" fmla="*/ 2147483647 w 46"/>
              <a:gd name="T27" fmla="*/ 2147483647 h 50"/>
              <a:gd name="T28" fmla="*/ 2147483647 w 46"/>
              <a:gd name="T29" fmla="*/ 2147483647 h 50"/>
              <a:gd name="T30" fmla="*/ 2147483647 w 46"/>
              <a:gd name="T31" fmla="*/ 2147483647 h 50"/>
              <a:gd name="T32" fmla="*/ 2147483647 w 46"/>
              <a:gd name="T33" fmla="*/ 2147483647 h 50"/>
              <a:gd name="T34" fmla="*/ 2147483647 w 46"/>
              <a:gd name="T35" fmla="*/ 2147483647 h 50"/>
              <a:gd name="T36" fmla="*/ 2147483647 w 46"/>
              <a:gd name="T37" fmla="*/ 2147483647 h 50"/>
              <a:gd name="T38" fmla="*/ 2147483647 w 46"/>
              <a:gd name="T39" fmla="*/ 2147483647 h 50"/>
              <a:gd name="T40" fmla="*/ 2147483647 w 46"/>
              <a:gd name="T41" fmla="*/ 2147483647 h 50"/>
              <a:gd name="T42" fmla="*/ 2147483647 w 46"/>
              <a:gd name="T43" fmla="*/ 2147483647 h 50"/>
              <a:gd name="T44" fmla="*/ 2147483647 w 46"/>
              <a:gd name="T45" fmla="*/ 2147483647 h 50"/>
              <a:gd name="T46" fmla="*/ 2147483647 w 46"/>
              <a:gd name="T47" fmla="*/ 2147483647 h 50"/>
              <a:gd name="T48" fmla="*/ 2147483647 w 46"/>
              <a:gd name="T49" fmla="*/ 2147483647 h 50"/>
              <a:gd name="T50" fmla="*/ 2147483647 w 46"/>
              <a:gd name="T51" fmla="*/ 2147483647 h 50"/>
              <a:gd name="T52" fmla="*/ 2147483647 w 46"/>
              <a:gd name="T53" fmla="*/ 2147483647 h 50"/>
              <a:gd name="T54" fmla="*/ 2147483647 w 46"/>
              <a:gd name="T55" fmla="*/ 2147483647 h 50"/>
              <a:gd name="T56" fmla="*/ 2147483647 w 46"/>
              <a:gd name="T57" fmla="*/ 2147483647 h 50"/>
              <a:gd name="T58" fmla="*/ 2147483647 w 46"/>
              <a:gd name="T59" fmla="*/ 2147483647 h 50"/>
              <a:gd name="T60" fmla="*/ 2147483647 w 46"/>
              <a:gd name="T61" fmla="*/ 2147483647 h 50"/>
              <a:gd name="T62" fmla="*/ 2147483647 w 46"/>
              <a:gd name="T63" fmla="*/ 2147483647 h 50"/>
              <a:gd name="T64" fmla="*/ 2147483647 w 46"/>
              <a:gd name="T65" fmla="*/ 2147483647 h 50"/>
              <a:gd name="T66" fmla="*/ 2147483647 w 46"/>
              <a:gd name="T67" fmla="*/ 2147483647 h 50"/>
              <a:gd name="T68" fmla="*/ 2147483647 w 46"/>
              <a:gd name="T69" fmla="*/ 2147483647 h 50"/>
              <a:gd name="T70" fmla="*/ 2147483647 w 46"/>
              <a:gd name="T71" fmla="*/ 2147483647 h 50"/>
              <a:gd name="T72" fmla="*/ 2147483647 w 46"/>
              <a:gd name="T73" fmla="*/ 2147483647 h 50"/>
              <a:gd name="T74" fmla="*/ 2147483647 w 46"/>
              <a:gd name="T75" fmla="*/ 2147483647 h 50"/>
              <a:gd name="T76" fmla="*/ 2147483647 w 46"/>
              <a:gd name="T77" fmla="*/ 2147483647 h 50"/>
              <a:gd name="T78" fmla="*/ 2147483647 w 46"/>
              <a:gd name="T79" fmla="*/ 0 h 50"/>
              <a:gd name="T80" fmla="*/ 2147483647 w 46"/>
              <a:gd name="T81" fmla="*/ 2147483647 h 50"/>
              <a:gd name="T82" fmla="*/ 2147483647 w 46"/>
              <a:gd name="T83" fmla="*/ 2147483647 h 50"/>
              <a:gd name="T84" fmla="*/ 2147483647 w 46"/>
              <a:gd name="T85" fmla="*/ 2147483647 h 50"/>
              <a:gd name="T86" fmla="*/ 2147483647 w 46"/>
              <a:gd name="T87" fmla="*/ 2147483647 h 50"/>
              <a:gd name="T88" fmla="*/ 2147483647 w 46"/>
              <a:gd name="T89" fmla="*/ 2147483647 h 50"/>
              <a:gd name="T90" fmla="*/ 2147483647 w 46"/>
              <a:gd name="T91" fmla="*/ 2147483647 h 50"/>
              <a:gd name="T92" fmla="*/ 2147483647 w 46"/>
              <a:gd name="T93" fmla="*/ 2147483647 h 50"/>
              <a:gd name="T94" fmla="*/ 2147483647 w 46"/>
              <a:gd name="T95" fmla="*/ 2147483647 h 50"/>
              <a:gd name="T96" fmla="*/ 2147483647 w 46"/>
              <a:gd name="T97" fmla="*/ 2147483647 h 50"/>
              <a:gd name="T98" fmla="*/ 2147483647 w 46"/>
              <a:gd name="T99" fmla="*/ 2147483647 h 50"/>
              <a:gd name="T100" fmla="*/ 2147483647 w 46"/>
              <a:gd name="T101" fmla="*/ 2147483647 h 50"/>
              <a:gd name="T102" fmla="*/ 2147483647 w 46"/>
              <a:gd name="T103" fmla="*/ 2147483647 h 50"/>
              <a:gd name="T104" fmla="*/ 2147483647 w 46"/>
              <a:gd name="T105" fmla="*/ 2147483647 h 50"/>
              <a:gd name="T106" fmla="*/ 2147483647 w 46"/>
              <a:gd name="T107" fmla="*/ 2147483647 h 50"/>
              <a:gd name="T108" fmla="*/ 2147483647 w 46"/>
              <a:gd name="T109" fmla="*/ 2147483647 h 50"/>
              <a:gd name="T110" fmla="*/ 0 w 46"/>
              <a:gd name="T111" fmla="*/ 2147483647 h 5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6"/>
              <a:gd name="T169" fmla="*/ 0 h 50"/>
              <a:gd name="T170" fmla="*/ 46 w 46"/>
              <a:gd name="T171" fmla="*/ 50 h 50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6" h="50">
                <a:moveTo>
                  <a:pt x="0" y="15"/>
                </a:moveTo>
                <a:lnTo>
                  <a:pt x="0" y="15"/>
                </a:lnTo>
                <a:lnTo>
                  <a:pt x="0" y="17"/>
                </a:lnTo>
                <a:lnTo>
                  <a:pt x="1" y="18"/>
                </a:lnTo>
                <a:lnTo>
                  <a:pt x="1" y="19"/>
                </a:lnTo>
                <a:lnTo>
                  <a:pt x="4" y="19"/>
                </a:lnTo>
                <a:lnTo>
                  <a:pt x="5" y="20"/>
                </a:lnTo>
                <a:lnTo>
                  <a:pt x="6" y="21"/>
                </a:lnTo>
                <a:lnTo>
                  <a:pt x="7" y="22"/>
                </a:lnTo>
                <a:lnTo>
                  <a:pt x="8" y="23"/>
                </a:lnTo>
                <a:lnTo>
                  <a:pt x="8" y="24"/>
                </a:lnTo>
                <a:lnTo>
                  <a:pt x="6" y="25"/>
                </a:lnTo>
                <a:lnTo>
                  <a:pt x="5" y="26"/>
                </a:lnTo>
                <a:lnTo>
                  <a:pt x="4" y="27"/>
                </a:lnTo>
                <a:lnTo>
                  <a:pt x="4" y="28"/>
                </a:lnTo>
                <a:lnTo>
                  <a:pt x="5" y="28"/>
                </a:lnTo>
                <a:lnTo>
                  <a:pt x="5" y="30"/>
                </a:lnTo>
                <a:lnTo>
                  <a:pt x="7" y="31"/>
                </a:lnTo>
                <a:lnTo>
                  <a:pt x="8" y="31"/>
                </a:lnTo>
                <a:lnTo>
                  <a:pt x="8" y="32"/>
                </a:lnTo>
                <a:lnTo>
                  <a:pt x="9" y="33"/>
                </a:lnTo>
                <a:lnTo>
                  <a:pt x="8" y="34"/>
                </a:lnTo>
                <a:lnTo>
                  <a:pt x="7" y="34"/>
                </a:lnTo>
                <a:lnTo>
                  <a:pt x="7" y="36"/>
                </a:lnTo>
                <a:lnTo>
                  <a:pt x="7" y="37"/>
                </a:lnTo>
                <a:lnTo>
                  <a:pt x="9" y="39"/>
                </a:lnTo>
                <a:lnTo>
                  <a:pt x="10" y="39"/>
                </a:lnTo>
                <a:lnTo>
                  <a:pt x="11" y="38"/>
                </a:lnTo>
                <a:lnTo>
                  <a:pt x="13" y="38"/>
                </a:lnTo>
                <a:lnTo>
                  <a:pt x="13" y="39"/>
                </a:lnTo>
                <a:lnTo>
                  <a:pt x="16" y="39"/>
                </a:lnTo>
                <a:lnTo>
                  <a:pt x="16" y="37"/>
                </a:lnTo>
                <a:lnTo>
                  <a:pt x="18" y="38"/>
                </a:lnTo>
                <a:lnTo>
                  <a:pt x="18" y="41"/>
                </a:lnTo>
                <a:lnTo>
                  <a:pt x="19" y="43"/>
                </a:lnTo>
                <a:lnTo>
                  <a:pt x="20" y="43"/>
                </a:lnTo>
                <a:lnTo>
                  <a:pt x="21" y="43"/>
                </a:lnTo>
                <a:lnTo>
                  <a:pt x="21" y="48"/>
                </a:lnTo>
                <a:lnTo>
                  <a:pt x="22" y="50"/>
                </a:lnTo>
                <a:lnTo>
                  <a:pt x="24" y="49"/>
                </a:lnTo>
                <a:lnTo>
                  <a:pt x="25" y="50"/>
                </a:lnTo>
                <a:lnTo>
                  <a:pt x="28" y="50"/>
                </a:lnTo>
                <a:lnTo>
                  <a:pt x="29" y="47"/>
                </a:lnTo>
                <a:lnTo>
                  <a:pt x="34" y="47"/>
                </a:lnTo>
                <a:lnTo>
                  <a:pt x="36" y="45"/>
                </a:lnTo>
                <a:lnTo>
                  <a:pt x="38" y="44"/>
                </a:lnTo>
                <a:lnTo>
                  <a:pt x="38" y="42"/>
                </a:lnTo>
                <a:lnTo>
                  <a:pt x="38" y="41"/>
                </a:lnTo>
                <a:lnTo>
                  <a:pt x="35" y="41"/>
                </a:lnTo>
                <a:lnTo>
                  <a:pt x="34" y="39"/>
                </a:lnTo>
                <a:lnTo>
                  <a:pt x="35" y="38"/>
                </a:lnTo>
                <a:lnTo>
                  <a:pt x="33" y="36"/>
                </a:lnTo>
                <a:lnTo>
                  <a:pt x="31" y="35"/>
                </a:lnTo>
                <a:lnTo>
                  <a:pt x="31" y="31"/>
                </a:lnTo>
                <a:lnTo>
                  <a:pt x="32" y="30"/>
                </a:lnTo>
                <a:lnTo>
                  <a:pt x="33" y="27"/>
                </a:lnTo>
                <a:lnTo>
                  <a:pt x="32" y="26"/>
                </a:lnTo>
                <a:lnTo>
                  <a:pt x="30" y="25"/>
                </a:lnTo>
                <a:lnTo>
                  <a:pt x="30" y="24"/>
                </a:lnTo>
                <a:lnTo>
                  <a:pt x="32" y="22"/>
                </a:lnTo>
                <a:lnTo>
                  <a:pt x="34" y="22"/>
                </a:lnTo>
                <a:lnTo>
                  <a:pt x="36" y="22"/>
                </a:lnTo>
                <a:lnTo>
                  <a:pt x="37" y="23"/>
                </a:lnTo>
                <a:lnTo>
                  <a:pt x="40" y="23"/>
                </a:lnTo>
                <a:lnTo>
                  <a:pt x="42" y="20"/>
                </a:lnTo>
                <a:lnTo>
                  <a:pt x="42" y="16"/>
                </a:lnTo>
                <a:lnTo>
                  <a:pt x="42" y="13"/>
                </a:lnTo>
                <a:lnTo>
                  <a:pt x="44" y="12"/>
                </a:lnTo>
                <a:lnTo>
                  <a:pt x="46" y="12"/>
                </a:lnTo>
                <a:lnTo>
                  <a:pt x="46" y="9"/>
                </a:lnTo>
                <a:lnTo>
                  <a:pt x="46" y="6"/>
                </a:lnTo>
                <a:lnTo>
                  <a:pt x="46" y="3"/>
                </a:lnTo>
                <a:lnTo>
                  <a:pt x="46" y="2"/>
                </a:lnTo>
                <a:lnTo>
                  <a:pt x="41" y="2"/>
                </a:lnTo>
                <a:lnTo>
                  <a:pt x="40" y="3"/>
                </a:lnTo>
                <a:lnTo>
                  <a:pt x="36" y="3"/>
                </a:lnTo>
                <a:lnTo>
                  <a:pt x="35" y="2"/>
                </a:lnTo>
                <a:lnTo>
                  <a:pt x="34" y="0"/>
                </a:lnTo>
                <a:lnTo>
                  <a:pt x="31" y="0"/>
                </a:lnTo>
                <a:lnTo>
                  <a:pt x="31" y="2"/>
                </a:lnTo>
                <a:lnTo>
                  <a:pt x="29" y="2"/>
                </a:lnTo>
                <a:lnTo>
                  <a:pt x="26" y="2"/>
                </a:lnTo>
                <a:lnTo>
                  <a:pt x="26" y="4"/>
                </a:lnTo>
                <a:lnTo>
                  <a:pt x="24" y="5"/>
                </a:lnTo>
                <a:lnTo>
                  <a:pt x="22" y="6"/>
                </a:lnTo>
                <a:lnTo>
                  <a:pt x="22" y="8"/>
                </a:lnTo>
                <a:lnTo>
                  <a:pt x="21" y="9"/>
                </a:lnTo>
                <a:lnTo>
                  <a:pt x="19" y="11"/>
                </a:lnTo>
                <a:lnTo>
                  <a:pt x="17" y="11"/>
                </a:lnTo>
                <a:lnTo>
                  <a:pt x="16" y="12"/>
                </a:lnTo>
                <a:lnTo>
                  <a:pt x="14" y="12"/>
                </a:lnTo>
                <a:lnTo>
                  <a:pt x="13" y="9"/>
                </a:lnTo>
                <a:lnTo>
                  <a:pt x="11" y="6"/>
                </a:lnTo>
                <a:lnTo>
                  <a:pt x="9" y="6"/>
                </a:lnTo>
                <a:lnTo>
                  <a:pt x="7" y="5"/>
                </a:lnTo>
                <a:lnTo>
                  <a:pt x="4" y="6"/>
                </a:lnTo>
                <a:lnTo>
                  <a:pt x="3" y="6"/>
                </a:lnTo>
                <a:lnTo>
                  <a:pt x="1" y="8"/>
                </a:lnTo>
                <a:lnTo>
                  <a:pt x="1" y="10"/>
                </a:lnTo>
                <a:lnTo>
                  <a:pt x="2" y="11"/>
                </a:lnTo>
                <a:lnTo>
                  <a:pt x="4" y="12"/>
                </a:lnTo>
                <a:lnTo>
                  <a:pt x="5" y="12"/>
                </a:lnTo>
                <a:lnTo>
                  <a:pt x="6" y="13"/>
                </a:lnTo>
                <a:lnTo>
                  <a:pt x="8" y="14"/>
                </a:lnTo>
                <a:lnTo>
                  <a:pt x="7" y="16"/>
                </a:lnTo>
                <a:lnTo>
                  <a:pt x="4" y="15"/>
                </a:lnTo>
                <a:lnTo>
                  <a:pt x="3" y="14"/>
                </a:lnTo>
                <a:lnTo>
                  <a:pt x="2" y="14"/>
                </a:lnTo>
                <a:lnTo>
                  <a:pt x="1" y="13"/>
                </a:lnTo>
                <a:lnTo>
                  <a:pt x="0" y="13"/>
                </a:lnTo>
                <a:lnTo>
                  <a:pt x="0" y="15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5" name="Freeform 15"/>
          <p:cNvSpPr>
            <a:spLocks/>
          </p:cNvSpPr>
          <p:nvPr/>
        </p:nvSpPr>
        <p:spPr bwMode="auto">
          <a:xfrm>
            <a:off x="2431607" y="4254499"/>
            <a:ext cx="390525" cy="447675"/>
          </a:xfrm>
          <a:custGeom>
            <a:avLst/>
            <a:gdLst>
              <a:gd name="T0" fmla="*/ 2147483647 w 41"/>
              <a:gd name="T1" fmla="*/ 2147483647 h 47"/>
              <a:gd name="T2" fmla="*/ 2147483647 w 41"/>
              <a:gd name="T3" fmla="*/ 2147483647 h 47"/>
              <a:gd name="T4" fmla="*/ 2147483647 w 41"/>
              <a:gd name="T5" fmla="*/ 2147483647 h 47"/>
              <a:gd name="T6" fmla="*/ 2147483647 w 41"/>
              <a:gd name="T7" fmla="*/ 2147483647 h 47"/>
              <a:gd name="T8" fmla="*/ 2147483647 w 41"/>
              <a:gd name="T9" fmla="*/ 2147483647 h 47"/>
              <a:gd name="T10" fmla="*/ 2147483647 w 41"/>
              <a:gd name="T11" fmla="*/ 2147483647 h 47"/>
              <a:gd name="T12" fmla="*/ 2147483647 w 41"/>
              <a:gd name="T13" fmla="*/ 2147483647 h 47"/>
              <a:gd name="T14" fmla="*/ 2147483647 w 41"/>
              <a:gd name="T15" fmla="*/ 2147483647 h 47"/>
              <a:gd name="T16" fmla="*/ 2147483647 w 41"/>
              <a:gd name="T17" fmla="*/ 2147483647 h 47"/>
              <a:gd name="T18" fmla="*/ 2147483647 w 41"/>
              <a:gd name="T19" fmla="*/ 2147483647 h 47"/>
              <a:gd name="T20" fmla="*/ 2147483647 w 41"/>
              <a:gd name="T21" fmla="*/ 2147483647 h 47"/>
              <a:gd name="T22" fmla="*/ 2147483647 w 41"/>
              <a:gd name="T23" fmla="*/ 2147483647 h 47"/>
              <a:gd name="T24" fmla="*/ 2147483647 w 41"/>
              <a:gd name="T25" fmla="*/ 2147483647 h 47"/>
              <a:gd name="T26" fmla="*/ 2147483647 w 41"/>
              <a:gd name="T27" fmla="*/ 2147483647 h 47"/>
              <a:gd name="T28" fmla="*/ 2147483647 w 41"/>
              <a:gd name="T29" fmla="*/ 2147483647 h 47"/>
              <a:gd name="T30" fmla="*/ 2147483647 w 41"/>
              <a:gd name="T31" fmla="*/ 2147483647 h 47"/>
              <a:gd name="T32" fmla="*/ 2147483647 w 41"/>
              <a:gd name="T33" fmla="*/ 0 h 47"/>
              <a:gd name="T34" fmla="*/ 2147483647 w 41"/>
              <a:gd name="T35" fmla="*/ 2147483647 h 47"/>
              <a:gd name="T36" fmla="*/ 2147483647 w 41"/>
              <a:gd name="T37" fmla="*/ 2147483647 h 47"/>
              <a:gd name="T38" fmla="*/ 2147483647 w 41"/>
              <a:gd name="T39" fmla="*/ 2147483647 h 47"/>
              <a:gd name="T40" fmla="*/ 2147483647 w 41"/>
              <a:gd name="T41" fmla="*/ 2147483647 h 47"/>
              <a:gd name="T42" fmla="*/ 2147483647 w 41"/>
              <a:gd name="T43" fmla="*/ 2147483647 h 47"/>
              <a:gd name="T44" fmla="*/ 2147483647 w 41"/>
              <a:gd name="T45" fmla="*/ 2147483647 h 47"/>
              <a:gd name="T46" fmla="*/ 2147483647 w 41"/>
              <a:gd name="T47" fmla="*/ 2147483647 h 47"/>
              <a:gd name="T48" fmla="*/ 2147483647 w 41"/>
              <a:gd name="T49" fmla="*/ 2147483647 h 47"/>
              <a:gd name="T50" fmla="*/ 2147483647 w 41"/>
              <a:gd name="T51" fmla="*/ 2147483647 h 47"/>
              <a:gd name="T52" fmla="*/ 2147483647 w 41"/>
              <a:gd name="T53" fmla="*/ 2147483647 h 47"/>
              <a:gd name="T54" fmla="*/ 2147483647 w 41"/>
              <a:gd name="T55" fmla="*/ 2147483647 h 47"/>
              <a:gd name="T56" fmla="*/ 2147483647 w 41"/>
              <a:gd name="T57" fmla="*/ 2147483647 h 47"/>
              <a:gd name="T58" fmla="*/ 2147483647 w 41"/>
              <a:gd name="T59" fmla="*/ 2147483647 h 47"/>
              <a:gd name="T60" fmla="*/ 2147483647 w 41"/>
              <a:gd name="T61" fmla="*/ 2147483647 h 47"/>
              <a:gd name="T62" fmla="*/ 2147483647 w 41"/>
              <a:gd name="T63" fmla="*/ 2147483647 h 47"/>
              <a:gd name="T64" fmla="*/ 2147483647 w 41"/>
              <a:gd name="T65" fmla="*/ 2147483647 h 47"/>
              <a:gd name="T66" fmla="*/ 2147483647 w 41"/>
              <a:gd name="T67" fmla="*/ 2147483647 h 47"/>
              <a:gd name="T68" fmla="*/ 2147483647 w 41"/>
              <a:gd name="T69" fmla="*/ 2147483647 h 47"/>
              <a:gd name="T70" fmla="*/ 2147483647 w 41"/>
              <a:gd name="T71" fmla="*/ 2147483647 h 47"/>
              <a:gd name="T72" fmla="*/ 2147483647 w 41"/>
              <a:gd name="T73" fmla="*/ 2147483647 h 47"/>
              <a:gd name="T74" fmla="*/ 2147483647 w 41"/>
              <a:gd name="T75" fmla="*/ 2147483647 h 47"/>
              <a:gd name="T76" fmla="*/ 2147483647 w 41"/>
              <a:gd name="T77" fmla="*/ 2147483647 h 47"/>
              <a:gd name="T78" fmla="*/ 2147483647 w 41"/>
              <a:gd name="T79" fmla="*/ 2147483647 h 47"/>
              <a:gd name="T80" fmla="*/ 2147483647 w 41"/>
              <a:gd name="T81" fmla="*/ 2147483647 h 47"/>
              <a:gd name="T82" fmla="*/ 2147483647 w 41"/>
              <a:gd name="T83" fmla="*/ 2147483647 h 47"/>
              <a:gd name="T84" fmla="*/ 2147483647 w 41"/>
              <a:gd name="T85" fmla="*/ 2147483647 h 4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41"/>
              <a:gd name="T130" fmla="*/ 0 h 47"/>
              <a:gd name="T131" fmla="*/ 41 w 41"/>
              <a:gd name="T132" fmla="*/ 47 h 4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41" h="47">
                <a:moveTo>
                  <a:pt x="22" y="45"/>
                </a:moveTo>
                <a:lnTo>
                  <a:pt x="25" y="45"/>
                </a:lnTo>
                <a:lnTo>
                  <a:pt x="26" y="45"/>
                </a:lnTo>
                <a:lnTo>
                  <a:pt x="27" y="44"/>
                </a:lnTo>
                <a:lnTo>
                  <a:pt x="30" y="44"/>
                </a:lnTo>
                <a:lnTo>
                  <a:pt x="32" y="42"/>
                </a:lnTo>
                <a:lnTo>
                  <a:pt x="32" y="40"/>
                </a:lnTo>
                <a:lnTo>
                  <a:pt x="30" y="40"/>
                </a:lnTo>
                <a:lnTo>
                  <a:pt x="28" y="39"/>
                </a:lnTo>
                <a:lnTo>
                  <a:pt x="28" y="38"/>
                </a:lnTo>
                <a:lnTo>
                  <a:pt x="30" y="37"/>
                </a:lnTo>
                <a:lnTo>
                  <a:pt x="31" y="37"/>
                </a:lnTo>
                <a:lnTo>
                  <a:pt x="33" y="36"/>
                </a:lnTo>
                <a:lnTo>
                  <a:pt x="34" y="35"/>
                </a:lnTo>
                <a:lnTo>
                  <a:pt x="32" y="34"/>
                </a:lnTo>
                <a:lnTo>
                  <a:pt x="32" y="32"/>
                </a:lnTo>
                <a:lnTo>
                  <a:pt x="32" y="29"/>
                </a:lnTo>
                <a:lnTo>
                  <a:pt x="34" y="30"/>
                </a:lnTo>
                <a:lnTo>
                  <a:pt x="35" y="31"/>
                </a:lnTo>
                <a:lnTo>
                  <a:pt x="36" y="29"/>
                </a:lnTo>
                <a:lnTo>
                  <a:pt x="39" y="29"/>
                </a:lnTo>
                <a:lnTo>
                  <a:pt x="39" y="26"/>
                </a:lnTo>
                <a:lnTo>
                  <a:pt x="40" y="25"/>
                </a:lnTo>
                <a:lnTo>
                  <a:pt x="41" y="22"/>
                </a:lnTo>
                <a:lnTo>
                  <a:pt x="40" y="19"/>
                </a:lnTo>
                <a:lnTo>
                  <a:pt x="39" y="18"/>
                </a:lnTo>
                <a:lnTo>
                  <a:pt x="39" y="12"/>
                </a:lnTo>
                <a:lnTo>
                  <a:pt x="40" y="11"/>
                </a:lnTo>
                <a:lnTo>
                  <a:pt x="40" y="7"/>
                </a:lnTo>
                <a:lnTo>
                  <a:pt x="39" y="7"/>
                </a:lnTo>
                <a:lnTo>
                  <a:pt x="39" y="5"/>
                </a:lnTo>
                <a:lnTo>
                  <a:pt x="36" y="5"/>
                </a:lnTo>
                <a:lnTo>
                  <a:pt x="36" y="0"/>
                </a:lnTo>
                <a:lnTo>
                  <a:pt x="33" y="0"/>
                </a:lnTo>
                <a:lnTo>
                  <a:pt x="33" y="2"/>
                </a:lnTo>
                <a:lnTo>
                  <a:pt x="29" y="2"/>
                </a:lnTo>
                <a:lnTo>
                  <a:pt x="25" y="2"/>
                </a:lnTo>
                <a:lnTo>
                  <a:pt x="24" y="3"/>
                </a:lnTo>
                <a:lnTo>
                  <a:pt x="25" y="5"/>
                </a:lnTo>
                <a:lnTo>
                  <a:pt x="28" y="5"/>
                </a:lnTo>
                <a:lnTo>
                  <a:pt x="28" y="6"/>
                </a:lnTo>
                <a:lnTo>
                  <a:pt x="28" y="8"/>
                </a:lnTo>
                <a:lnTo>
                  <a:pt x="26" y="9"/>
                </a:lnTo>
                <a:lnTo>
                  <a:pt x="24" y="11"/>
                </a:lnTo>
                <a:lnTo>
                  <a:pt x="19" y="11"/>
                </a:lnTo>
                <a:lnTo>
                  <a:pt x="18" y="14"/>
                </a:lnTo>
                <a:lnTo>
                  <a:pt x="15" y="14"/>
                </a:lnTo>
                <a:lnTo>
                  <a:pt x="14" y="13"/>
                </a:lnTo>
                <a:lnTo>
                  <a:pt x="12" y="14"/>
                </a:lnTo>
                <a:lnTo>
                  <a:pt x="11" y="12"/>
                </a:lnTo>
                <a:lnTo>
                  <a:pt x="11" y="7"/>
                </a:lnTo>
                <a:lnTo>
                  <a:pt x="10" y="7"/>
                </a:lnTo>
                <a:lnTo>
                  <a:pt x="9" y="7"/>
                </a:lnTo>
                <a:lnTo>
                  <a:pt x="8" y="5"/>
                </a:lnTo>
                <a:lnTo>
                  <a:pt x="8" y="2"/>
                </a:lnTo>
                <a:lnTo>
                  <a:pt x="6" y="1"/>
                </a:lnTo>
                <a:lnTo>
                  <a:pt x="6" y="3"/>
                </a:lnTo>
                <a:lnTo>
                  <a:pt x="3" y="3"/>
                </a:lnTo>
                <a:lnTo>
                  <a:pt x="3" y="2"/>
                </a:lnTo>
                <a:lnTo>
                  <a:pt x="1" y="2"/>
                </a:lnTo>
                <a:lnTo>
                  <a:pt x="0" y="3"/>
                </a:lnTo>
                <a:lnTo>
                  <a:pt x="1" y="6"/>
                </a:lnTo>
                <a:lnTo>
                  <a:pt x="4" y="6"/>
                </a:lnTo>
                <a:lnTo>
                  <a:pt x="4" y="8"/>
                </a:lnTo>
                <a:lnTo>
                  <a:pt x="7" y="8"/>
                </a:lnTo>
                <a:lnTo>
                  <a:pt x="7" y="9"/>
                </a:lnTo>
                <a:lnTo>
                  <a:pt x="9" y="9"/>
                </a:lnTo>
                <a:lnTo>
                  <a:pt x="9" y="12"/>
                </a:lnTo>
                <a:lnTo>
                  <a:pt x="11" y="15"/>
                </a:lnTo>
                <a:lnTo>
                  <a:pt x="11" y="16"/>
                </a:lnTo>
                <a:lnTo>
                  <a:pt x="11" y="18"/>
                </a:lnTo>
                <a:lnTo>
                  <a:pt x="12" y="18"/>
                </a:lnTo>
                <a:lnTo>
                  <a:pt x="13" y="20"/>
                </a:lnTo>
                <a:lnTo>
                  <a:pt x="11" y="20"/>
                </a:lnTo>
                <a:lnTo>
                  <a:pt x="11" y="23"/>
                </a:lnTo>
                <a:lnTo>
                  <a:pt x="14" y="25"/>
                </a:lnTo>
                <a:lnTo>
                  <a:pt x="15" y="26"/>
                </a:lnTo>
                <a:lnTo>
                  <a:pt x="14" y="29"/>
                </a:lnTo>
                <a:lnTo>
                  <a:pt x="15" y="31"/>
                </a:lnTo>
                <a:lnTo>
                  <a:pt x="16" y="33"/>
                </a:lnTo>
                <a:lnTo>
                  <a:pt x="16" y="36"/>
                </a:lnTo>
                <a:lnTo>
                  <a:pt x="15" y="38"/>
                </a:lnTo>
                <a:lnTo>
                  <a:pt x="17" y="39"/>
                </a:lnTo>
                <a:lnTo>
                  <a:pt x="20" y="43"/>
                </a:lnTo>
                <a:lnTo>
                  <a:pt x="20" y="47"/>
                </a:lnTo>
                <a:lnTo>
                  <a:pt x="22" y="46"/>
                </a:lnTo>
                <a:lnTo>
                  <a:pt x="22" y="45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6" name="Freeform 16"/>
          <p:cNvSpPr>
            <a:spLocks/>
          </p:cNvSpPr>
          <p:nvPr/>
        </p:nvSpPr>
        <p:spPr bwMode="auto">
          <a:xfrm>
            <a:off x="2698307" y="4283074"/>
            <a:ext cx="247650" cy="400050"/>
          </a:xfrm>
          <a:custGeom>
            <a:avLst/>
            <a:gdLst>
              <a:gd name="T0" fmla="*/ 2147483647 w 26"/>
              <a:gd name="T1" fmla="*/ 2147483647 h 42"/>
              <a:gd name="T2" fmla="*/ 2147483647 w 26"/>
              <a:gd name="T3" fmla="*/ 2147483647 h 42"/>
              <a:gd name="T4" fmla="*/ 2147483647 w 26"/>
              <a:gd name="T5" fmla="*/ 2147483647 h 42"/>
              <a:gd name="T6" fmla="*/ 0 w 26"/>
              <a:gd name="T7" fmla="*/ 2147483647 h 42"/>
              <a:gd name="T8" fmla="*/ 0 w 26"/>
              <a:gd name="T9" fmla="*/ 2147483647 h 42"/>
              <a:gd name="T10" fmla="*/ 2147483647 w 26"/>
              <a:gd name="T11" fmla="*/ 2147483647 h 42"/>
              <a:gd name="T12" fmla="*/ 2147483647 w 26"/>
              <a:gd name="T13" fmla="*/ 2147483647 h 42"/>
              <a:gd name="T14" fmla="*/ 2147483647 w 26"/>
              <a:gd name="T15" fmla="*/ 2147483647 h 42"/>
              <a:gd name="T16" fmla="*/ 2147483647 w 26"/>
              <a:gd name="T17" fmla="*/ 2147483647 h 42"/>
              <a:gd name="T18" fmla="*/ 2147483647 w 26"/>
              <a:gd name="T19" fmla="*/ 2147483647 h 42"/>
              <a:gd name="T20" fmla="*/ 2147483647 w 26"/>
              <a:gd name="T21" fmla="*/ 2147483647 h 42"/>
              <a:gd name="T22" fmla="*/ 2147483647 w 26"/>
              <a:gd name="T23" fmla="*/ 2147483647 h 42"/>
              <a:gd name="T24" fmla="*/ 2147483647 w 26"/>
              <a:gd name="T25" fmla="*/ 2147483647 h 42"/>
              <a:gd name="T26" fmla="*/ 2147483647 w 26"/>
              <a:gd name="T27" fmla="*/ 2147483647 h 42"/>
              <a:gd name="T28" fmla="*/ 2147483647 w 26"/>
              <a:gd name="T29" fmla="*/ 2147483647 h 42"/>
              <a:gd name="T30" fmla="*/ 2147483647 w 26"/>
              <a:gd name="T31" fmla="*/ 2147483647 h 42"/>
              <a:gd name="T32" fmla="*/ 2147483647 w 26"/>
              <a:gd name="T33" fmla="*/ 2147483647 h 42"/>
              <a:gd name="T34" fmla="*/ 2147483647 w 26"/>
              <a:gd name="T35" fmla="*/ 2147483647 h 42"/>
              <a:gd name="T36" fmla="*/ 2147483647 w 26"/>
              <a:gd name="T37" fmla="*/ 2147483647 h 42"/>
              <a:gd name="T38" fmla="*/ 2147483647 w 26"/>
              <a:gd name="T39" fmla="*/ 2147483647 h 42"/>
              <a:gd name="T40" fmla="*/ 2147483647 w 26"/>
              <a:gd name="T41" fmla="*/ 2147483647 h 42"/>
              <a:gd name="T42" fmla="*/ 2147483647 w 26"/>
              <a:gd name="T43" fmla="*/ 2147483647 h 42"/>
              <a:gd name="T44" fmla="*/ 2147483647 w 26"/>
              <a:gd name="T45" fmla="*/ 2147483647 h 42"/>
              <a:gd name="T46" fmla="*/ 2147483647 w 26"/>
              <a:gd name="T47" fmla="*/ 2147483647 h 42"/>
              <a:gd name="T48" fmla="*/ 2147483647 w 26"/>
              <a:gd name="T49" fmla="*/ 2147483647 h 42"/>
              <a:gd name="T50" fmla="*/ 2147483647 w 26"/>
              <a:gd name="T51" fmla="*/ 2147483647 h 42"/>
              <a:gd name="T52" fmla="*/ 2147483647 w 26"/>
              <a:gd name="T53" fmla="*/ 2147483647 h 42"/>
              <a:gd name="T54" fmla="*/ 2147483647 w 26"/>
              <a:gd name="T55" fmla="*/ 0 h 42"/>
              <a:gd name="T56" fmla="*/ 2147483647 w 26"/>
              <a:gd name="T57" fmla="*/ 2147483647 h 42"/>
              <a:gd name="T58" fmla="*/ 2147483647 w 26"/>
              <a:gd name="T59" fmla="*/ 2147483647 h 42"/>
              <a:gd name="T60" fmla="*/ 2147483647 w 26"/>
              <a:gd name="T61" fmla="*/ 2147483647 h 42"/>
              <a:gd name="T62" fmla="*/ 2147483647 w 26"/>
              <a:gd name="T63" fmla="*/ 2147483647 h 42"/>
              <a:gd name="T64" fmla="*/ 2147483647 w 26"/>
              <a:gd name="T65" fmla="*/ 2147483647 h 42"/>
              <a:gd name="T66" fmla="*/ 2147483647 w 26"/>
              <a:gd name="T67" fmla="*/ 2147483647 h 42"/>
              <a:gd name="T68" fmla="*/ 2147483647 w 26"/>
              <a:gd name="T69" fmla="*/ 2147483647 h 42"/>
              <a:gd name="T70" fmla="*/ 2147483647 w 26"/>
              <a:gd name="T71" fmla="*/ 2147483647 h 42"/>
              <a:gd name="T72" fmla="*/ 2147483647 w 26"/>
              <a:gd name="T73" fmla="*/ 2147483647 h 42"/>
              <a:gd name="T74" fmla="*/ 2147483647 w 26"/>
              <a:gd name="T75" fmla="*/ 2147483647 h 42"/>
              <a:gd name="T76" fmla="*/ 2147483647 w 26"/>
              <a:gd name="T77" fmla="*/ 2147483647 h 42"/>
              <a:gd name="T78" fmla="*/ 2147483647 w 26"/>
              <a:gd name="T79" fmla="*/ 2147483647 h 42"/>
              <a:gd name="T80" fmla="*/ 2147483647 w 26"/>
              <a:gd name="T81" fmla="*/ 2147483647 h 42"/>
              <a:gd name="T82" fmla="*/ 2147483647 w 26"/>
              <a:gd name="T83" fmla="*/ 2147483647 h 42"/>
              <a:gd name="T84" fmla="*/ 2147483647 w 26"/>
              <a:gd name="T85" fmla="*/ 2147483647 h 42"/>
              <a:gd name="T86" fmla="*/ 2147483647 w 26"/>
              <a:gd name="T87" fmla="*/ 2147483647 h 42"/>
              <a:gd name="T88" fmla="*/ 2147483647 w 26"/>
              <a:gd name="T89" fmla="*/ 2147483647 h 42"/>
              <a:gd name="T90" fmla="*/ 2147483647 w 26"/>
              <a:gd name="T91" fmla="*/ 2147483647 h 42"/>
              <a:gd name="T92" fmla="*/ 2147483647 w 26"/>
              <a:gd name="T93" fmla="*/ 2147483647 h 42"/>
              <a:gd name="T94" fmla="*/ 2147483647 w 26"/>
              <a:gd name="T95" fmla="*/ 2147483647 h 42"/>
              <a:gd name="T96" fmla="*/ 2147483647 w 26"/>
              <a:gd name="T97" fmla="*/ 2147483647 h 42"/>
              <a:gd name="T98" fmla="*/ 2147483647 w 26"/>
              <a:gd name="T99" fmla="*/ 2147483647 h 42"/>
              <a:gd name="T100" fmla="*/ 2147483647 w 26"/>
              <a:gd name="T101" fmla="*/ 2147483647 h 42"/>
              <a:gd name="T102" fmla="*/ 2147483647 w 26"/>
              <a:gd name="T103" fmla="*/ 2147483647 h 42"/>
              <a:gd name="T104" fmla="*/ 2147483647 w 26"/>
              <a:gd name="T105" fmla="*/ 2147483647 h 42"/>
              <a:gd name="T106" fmla="*/ 2147483647 w 26"/>
              <a:gd name="T107" fmla="*/ 2147483647 h 42"/>
              <a:gd name="T108" fmla="*/ 2147483647 w 26"/>
              <a:gd name="T109" fmla="*/ 2147483647 h 42"/>
              <a:gd name="T110" fmla="*/ 2147483647 w 26"/>
              <a:gd name="T111" fmla="*/ 2147483647 h 42"/>
              <a:gd name="T112" fmla="*/ 2147483647 w 26"/>
              <a:gd name="T113" fmla="*/ 2147483647 h 42"/>
              <a:gd name="T114" fmla="*/ 2147483647 w 26"/>
              <a:gd name="T115" fmla="*/ 2147483647 h 42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6"/>
              <a:gd name="T175" fmla="*/ 0 h 42"/>
              <a:gd name="T176" fmla="*/ 26 w 26"/>
              <a:gd name="T177" fmla="*/ 42 h 42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6" h="42">
                <a:moveTo>
                  <a:pt x="4" y="39"/>
                </a:moveTo>
                <a:lnTo>
                  <a:pt x="4" y="37"/>
                </a:lnTo>
                <a:lnTo>
                  <a:pt x="2" y="37"/>
                </a:lnTo>
                <a:lnTo>
                  <a:pt x="0" y="36"/>
                </a:lnTo>
                <a:lnTo>
                  <a:pt x="0" y="35"/>
                </a:lnTo>
                <a:lnTo>
                  <a:pt x="2" y="34"/>
                </a:lnTo>
                <a:lnTo>
                  <a:pt x="3" y="34"/>
                </a:lnTo>
                <a:lnTo>
                  <a:pt x="5" y="33"/>
                </a:lnTo>
                <a:lnTo>
                  <a:pt x="6" y="32"/>
                </a:lnTo>
                <a:lnTo>
                  <a:pt x="4" y="31"/>
                </a:lnTo>
                <a:lnTo>
                  <a:pt x="4" y="29"/>
                </a:lnTo>
                <a:lnTo>
                  <a:pt x="4" y="26"/>
                </a:lnTo>
                <a:lnTo>
                  <a:pt x="6" y="27"/>
                </a:lnTo>
                <a:lnTo>
                  <a:pt x="7" y="28"/>
                </a:lnTo>
                <a:lnTo>
                  <a:pt x="8" y="26"/>
                </a:lnTo>
                <a:lnTo>
                  <a:pt x="11" y="26"/>
                </a:lnTo>
                <a:lnTo>
                  <a:pt x="11" y="23"/>
                </a:lnTo>
                <a:lnTo>
                  <a:pt x="12" y="22"/>
                </a:lnTo>
                <a:lnTo>
                  <a:pt x="13" y="19"/>
                </a:lnTo>
                <a:lnTo>
                  <a:pt x="12" y="16"/>
                </a:lnTo>
                <a:lnTo>
                  <a:pt x="11" y="15"/>
                </a:lnTo>
                <a:lnTo>
                  <a:pt x="11" y="9"/>
                </a:lnTo>
                <a:lnTo>
                  <a:pt x="12" y="8"/>
                </a:lnTo>
                <a:lnTo>
                  <a:pt x="12" y="4"/>
                </a:lnTo>
                <a:lnTo>
                  <a:pt x="11" y="4"/>
                </a:lnTo>
                <a:lnTo>
                  <a:pt x="11" y="2"/>
                </a:lnTo>
                <a:lnTo>
                  <a:pt x="12" y="1"/>
                </a:lnTo>
                <a:lnTo>
                  <a:pt x="18" y="0"/>
                </a:lnTo>
                <a:lnTo>
                  <a:pt x="22" y="1"/>
                </a:lnTo>
                <a:lnTo>
                  <a:pt x="23" y="2"/>
                </a:lnTo>
                <a:lnTo>
                  <a:pt x="23" y="4"/>
                </a:lnTo>
                <a:lnTo>
                  <a:pt x="24" y="5"/>
                </a:lnTo>
                <a:lnTo>
                  <a:pt x="24" y="7"/>
                </a:lnTo>
                <a:lnTo>
                  <a:pt x="23" y="8"/>
                </a:lnTo>
                <a:lnTo>
                  <a:pt x="23" y="11"/>
                </a:lnTo>
                <a:lnTo>
                  <a:pt x="24" y="11"/>
                </a:lnTo>
                <a:lnTo>
                  <a:pt x="25" y="13"/>
                </a:lnTo>
                <a:lnTo>
                  <a:pt x="24" y="15"/>
                </a:lnTo>
                <a:lnTo>
                  <a:pt x="21" y="17"/>
                </a:lnTo>
                <a:lnTo>
                  <a:pt x="21" y="18"/>
                </a:lnTo>
                <a:lnTo>
                  <a:pt x="21" y="19"/>
                </a:lnTo>
                <a:lnTo>
                  <a:pt x="23" y="20"/>
                </a:lnTo>
                <a:lnTo>
                  <a:pt x="25" y="20"/>
                </a:lnTo>
                <a:lnTo>
                  <a:pt x="26" y="21"/>
                </a:lnTo>
                <a:lnTo>
                  <a:pt x="25" y="25"/>
                </a:lnTo>
                <a:lnTo>
                  <a:pt x="25" y="29"/>
                </a:lnTo>
                <a:lnTo>
                  <a:pt x="24" y="32"/>
                </a:lnTo>
                <a:lnTo>
                  <a:pt x="24" y="35"/>
                </a:lnTo>
                <a:lnTo>
                  <a:pt x="22" y="36"/>
                </a:lnTo>
                <a:lnTo>
                  <a:pt x="21" y="36"/>
                </a:lnTo>
                <a:lnTo>
                  <a:pt x="20" y="38"/>
                </a:lnTo>
                <a:lnTo>
                  <a:pt x="20" y="40"/>
                </a:lnTo>
                <a:lnTo>
                  <a:pt x="20" y="42"/>
                </a:lnTo>
                <a:lnTo>
                  <a:pt x="15" y="42"/>
                </a:lnTo>
                <a:lnTo>
                  <a:pt x="12" y="42"/>
                </a:lnTo>
                <a:lnTo>
                  <a:pt x="8" y="42"/>
                </a:lnTo>
                <a:lnTo>
                  <a:pt x="6" y="41"/>
                </a:lnTo>
                <a:lnTo>
                  <a:pt x="4" y="39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7" name="Freeform 17"/>
          <p:cNvSpPr>
            <a:spLocks/>
          </p:cNvSpPr>
          <p:nvPr/>
        </p:nvSpPr>
        <p:spPr bwMode="auto">
          <a:xfrm>
            <a:off x="2622107" y="3873499"/>
            <a:ext cx="476250" cy="476250"/>
          </a:xfrm>
          <a:custGeom>
            <a:avLst/>
            <a:gdLst>
              <a:gd name="T0" fmla="*/ 2147483647 w 50"/>
              <a:gd name="T1" fmla="*/ 2147483647 h 50"/>
              <a:gd name="T2" fmla="*/ 2147483647 w 50"/>
              <a:gd name="T3" fmla="*/ 2147483647 h 50"/>
              <a:gd name="T4" fmla="*/ 2147483647 w 50"/>
              <a:gd name="T5" fmla="*/ 2147483647 h 50"/>
              <a:gd name="T6" fmla="*/ 2147483647 w 50"/>
              <a:gd name="T7" fmla="*/ 2147483647 h 50"/>
              <a:gd name="T8" fmla="*/ 2147483647 w 50"/>
              <a:gd name="T9" fmla="*/ 2147483647 h 50"/>
              <a:gd name="T10" fmla="*/ 2147483647 w 50"/>
              <a:gd name="T11" fmla="*/ 2147483647 h 50"/>
              <a:gd name="T12" fmla="*/ 2147483647 w 50"/>
              <a:gd name="T13" fmla="*/ 2147483647 h 50"/>
              <a:gd name="T14" fmla="*/ 0 w 50"/>
              <a:gd name="T15" fmla="*/ 2147483647 h 50"/>
              <a:gd name="T16" fmla="*/ 2147483647 w 50"/>
              <a:gd name="T17" fmla="*/ 2147483647 h 50"/>
              <a:gd name="T18" fmla="*/ 2147483647 w 50"/>
              <a:gd name="T19" fmla="*/ 2147483647 h 50"/>
              <a:gd name="T20" fmla="*/ 2147483647 w 50"/>
              <a:gd name="T21" fmla="*/ 2147483647 h 50"/>
              <a:gd name="T22" fmla="*/ 2147483647 w 50"/>
              <a:gd name="T23" fmla="*/ 2147483647 h 50"/>
              <a:gd name="T24" fmla="*/ 2147483647 w 50"/>
              <a:gd name="T25" fmla="*/ 2147483647 h 50"/>
              <a:gd name="T26" fmla="*/ 2147483647 w 50"/>
              <a:gd name="T27" fmla="*/ 2147483647 h 50"/>
              <a:gd name="T28" fmla="*/ 2147483647 w 50"/>
              <a:gd name="T29" fmla="*/ 2147483647 h 50"/>
              <a:gd name="T30" fmla="*/ 2147483647 w 50"/>
              <a:gd name="T31" fmla="*/ 2147483647 h 50"/>
              <a:gd name="T32" fmla="*/ 2147483647 w 50"/>
              <a:gd name="T33" fmla="*/ 2147483647 h 50"/>
              <a:gd name="T34" fmla="*/ 2147483647 w 50"/>
              <a:gd name="T35" fmla="*/ 2147483647 h 50"/>
              <a:gd name="T36" fmla="*/ 2147483647 w 50"/>
              <a:gd name="T37" fmla="*/ 2147483647 h 50"/>
              <a:gd name="T38" fmla="*/ 2147483647 w 50"/>
              <a:gd name="T39" fmla="*/ 2147483647 h 50"/>
              <a:gd name="T40" fmla="*/ 2147483647 w 50"/>
              <a:gd name="T41" fmla="*/ 2147483647 h 50"/>
              <a:gd name="T42" fmla="*/ 2147483647 w 50"/>
              <a:gd name="T43" fmla="*/ 2147483647 h 50"/>
              <a:gd name="T44" fmla="*/ 2147483647 w 50"/>
              <a:gd name="T45" fmla="*/ 2147483647 h 50"/>
              <a:gd name="T46" fmla="*/ 2147483647 w 50"/>
              <a:gd name="T47" fmla="*/ 2147483647 h 50"/>
              <a:gd name="T48" fmla="*/ 2147483647 w 50"/>
              <a:gd name="T49" fmla="*/ 2147483647 h 50"/>
              <a:gd name="T50" fmla="*/ 2147483647 w 50"/>
              <a:gd name="T51" fmla="*/ 2147483647 h 50"/>
              <a:gd name="T52" fmla="*/ 2147483647 w 50"/>
              <a:gd name="T53" fmla="*/ 2147483647 h 50"/>
              <a:gd name="T54" fmla="*/ 2147483647 w 50"/>
              <a:gd name="T55" fmla="*/ 2147483647 h 50"/>
              <a:gd name="T56" fmla="*/ 2147483647 w 50"/>
              <a:gd name="T57" fmla="*/ 2147483647 h 50"/>
              <a:gd name="T58" fmla="*/ 2147483647 w 50"/>
              <a:gd name="T59" fmla="*/ 2147483647 h 50"/>
              <a:gd name="T60" fmla="*/ 2147483647 w 50"/>
              <a:gd name="T61" fmla="*/ 2147483647 h 50"/>
              <a:gd name="T62" fmla="*/ 2147483647 w 50"/>
              <a:gd name="T63" fmla="*/ 2147483647 h 50"/>
              <a:gd name="T64" fmla="*/ 2147483647 w 50"/>
              <a:gd name="T65" fmla="*/ 2147483647 h 50"/>
              <a:gd name="T66" fmla="*/ 2147483647 w 50"/>
              <a:gd name="T67" fmla="*/ 0 h 50"/>
              <a:gd name="T68" fmla="*/ 2147483647 w 50"/>
              <a:gd name="T69" fmla="*/ 2147483647 h 50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50"/>
              <a:gd name="T106" fmla="*/ 0 h 50"/>
              <a:gd name="T107" fmla="*/ 50 w 50"/>
              <a:gd name="T108" fmla="*/ 50 h 50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50" h="50">
                <a:moveTo>
                  <a:pt x="16" y="6"/>
                </a:moveTo>
                <a:lnTo>
                  <a:pt x="16" y="7"/>
                </a:lnTo>
                <a:lnTo>
                  <a:pt x="16" y="10"/>
                </a:lnTo>
                <a:lnTo>
                  <a:pt x="16" y="13"/>
                </a:lnTo>
                <a:lnTo>
                  <a:pt x="16" y="16"/>
                </a:lnTo>
                <a:lnTo>
                  <a:pt x="14" y="16"/>
                </a:lnTo>
                <a:lnTo>
                  <a:pt x="12" y="17"/>
                </a:lnTo>
                <a:lnTo>
                  <a:pt x="12" y="20"/>
                </a:lnTo>
                <a:lnTo>
                  <a:pt x="12" y="24"/>
                </a:lnTo>
                <a:lnTo>
                  <a:pt x="10" y="27"/>
                </a:lnTo>
                <a:lnTo>
                  <a:pt x="7" y="27"/>
                </a:lnTo>
                <a:lnTo>
                  <a:pt x="6" y="26"/>
                </a:lnTo>
                <a:lnTo>
                  <a:pt x="4" y="26"/>
                </a:lnTo>
                <a:lnTo>
                  <a:pt x="2" y="26"/>
                </a:lnTo>
                <a:lnTo>
                  <a:pt x="0" y="28"/>
                </a:lnTo>
                <a:lnTo>
                  <a:pt x="0" y="29"/>
                </a:lnTo>
                <a:lnTo>
                  <a:pt x="2" y="30"/>
                </a:lnTo>
                <a:lnTo>
                  <a:pt x="3" y="31"/>
                </a:lnTo>
                <a:lnTo>
                  <a:pt x="2" y="34"/>
                </a:lnTo>
                <a:lnTo>
                  <a:pt x="1" y="35"/>
                </a:lnTo>
                <a:lnTo>
                  <a:pt x="1" y="39"/>
                </a:lnTo>
                <a:lnTo>
                  <a:pt x="3" y="40"/>
                </a:lnTo>
                <a:lnTo>
                  <a:pt x="5" y="42"/>
                </a:lnTo>
                <a:lnTo>
                  <a:pt x="9" y="42"/>
                </a:lnTo>
                <a:lnTo>
                  <a:pt x="13" y="42"/>
                </a:lnTo>
                <a:lnTo>
                  <a:pt x="13" y="40"/>
                </a:lnTo>
                <a:lnTo>
                  <a:pt x="16" y="40"/>
                </a:lnTo>
                <a:lnTo>
                  <a:pt x="16" y="45"/>
                </a:lnTo>
                <a:lnTo>
                  <a:pt x="19" y="45"/>
                </a:lnTo>
                <a:lnTo>
                  <a:pt x="20" y="44"/>
                </a:lnTo>
                <a:lnTo>
                  <a:pt x="26" y="43"/>
                </a:lnTo>
                <a:lnTo>
                  <a:pt x="30" y="44"/>
                </a:lnTo>
                <a:lnTo>
                  <a:pt x="31" y="45"/>
                </a:lnTo>
                <a:lnTo>
                  <a:pt x="31" y="47"/>
                </a:lnTo>
                <a:lnTo>
                  <a:pt x="32" y="48"/>
                </a:lnTo>
                <a:lnTo>
                  <a:pt x="32" y="50"/>
                </a:lnTo>
                <a:lnTo>
                  <a:pt x="36" y="49"/>
                </a:lnTo>
                <a:lnTo>
                  <a:pt x="39" y="49"/>
                </a:lnTo>
                <a:lnTo>
                  <a:pt x="39" y="45"/>
                </a:lnTo>
                <a:lnTo>
                  <a:pt x="41" y="44"/>
                </a:lnTo>
                <a:lnTo>
                  <a:pt x="43" y="43"/>
                </a:lnTo>
                <a:lnTo>
                  <a:pt x="45" y="42"/>
                </a:lnTo>
                <a:lnTo>
                  <a:pt x="48" y="42"/>
                </a:lnTo>
                <a:lnTo>
                  <a:pt x="49" y="41"/>
                </a:lnTo>
                <a:lnTo>
                  <a:pt x="50" y="40"/>
                </a:lnTo>
                <a:lnTo>
                  <a:pt x="50" y="37"/>
                </a:lnTo>
                <a:lnTo>
                  <a:pt x="50" y="33"/>
                </a:lnTo>
                <a:lnTo>
                  <a:pt x="50" y="31"/>
                </a:lnTo>
                <a:lnTo>
                  <a:pt x="46" y="31"/>
                </a:lnTo>
                <a:lnTo>
                  <a:pt x="45" y="28"/>
                </a:lnTo>
                <a:lnTo>
                  <a:pt x="45" y="26"/>
                </a:lnTo>
                <a:lnTo>
                  <a:pt x="41" y="26"/>
                </a:lnTo>
                <a:lnTo>
                  <a:pt x="42" y="23"/>
                </a:lnTo>
                <a:lnTo>
                  <a:pt x="44" y="21"/>
                </a:lnTo>
                <a:lnTo>
                  <a:pt x="43" y="19"/>
                </a:lnTo>
                <a:lnTo>
                  <a:pt x="44" y="18"/>
                </a:lnTo>
                <a:lnTo>
                  <a:pt x="44" y="17"/>
                </a:lnTo>
                <a:lnTo>
                  <a:pt x="41" y="14"/>
                </a:lnTo>
                <a:lnTo>
                  <a:pt x="38" y="14"/>
                </a:lnTo>
                <a:lnTo>
                  <a:pt x="38" y="11"/>
                </a:lnTo>
                <a:lnTo>
                  <a:pt x="35" y="11"/>
                </a:lnTo>
                <a:lnTo>
                  <a:pt x="33" y="9"/>
                </a:lnTo>
                <a:lnTo>
                  <a:pt x="34" y="7"/>
                </a:lnTo>
                <a:lnTo>
                  <a:pt x="32" y="4"/>
                </a:lnTo>
                <a:lnTo>
                  <a:pt x="29" y="4"/>
                </a:lnTo>
                <a:lnTo>
                  <a:pt x="28" y="3"/>
                </a:lnTo>
                <a:lnTo>
                  <a:pt x="28" y="0"/>
                </a:lnTo>
                <a:lnTo>
                  <a:pt x="20" y="0"/>
                </a:lnTo>
                <a:lnTo>
                  <a:pt x="20" y="4"/>
                </a:lnTo>
                <a:lnTo>
                  <a:pt x="16" y="6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8" name="Freeform 18"/>
          <p:cNvSpPr>
            <a:spLocks/>
          </p:cNvSpPr>
          <p:nvPr/>
        </p:nvSpPr>
        <p:spPr bwMode="auto">
          <a:xfrm>
            <a:off x="2631632" y="3635374"/>
            <a:ext cx="323850" cy="304800"/>
          </a:xfrm>
          <a:custGeom>
            <a:avLst/>
            <a:gdLst>
              <a:gd name="T0" fmla="*/ 2147483647 w 34"/>
              <a:gd name="T1" fmla="*/ 2147483647 h 32"/>
              <a:gd name="T2" fmla="*/ 2147483647 w 34"/>
              <a:gd name="T3" fmla="*/ 2147483647 h 32"/>
              <a:gd name="T4" fmla="*/ 2147483647 w 34"/>
              <a:gd name="T5" fmla="*/ 2147483647 h 32"/>
              <a:gd name="T6" fmla="*/ 2147483647 w 34"/>
              <a:gd name="T7" fmla="*/ 2147483647 h 32"/>
              <a:gd name="T8" fmla="*/ 2147483647 w 34"/>
              <a:gd name="T9" fmla="*/ 2147483647 h 32"/>
              <a:gd name="T10" fmla="*/ 2147483647 w 34"/>
              <a:gd name="T11" fmla="*/ 2147483647 h 32"/>
              <a:gd name="T12" fmla="*/ 2147483647 w 34"/>
              <a:gd name="T13" fmla="*/ 2147483647 h 32"/>
              <a:gd name="T14" fmla="*/ 2147483647 w 34"/>
              <a:gd name="T15" fmla="*/ 2147483647 h 32"/>
              <a:gd name="T16" fmla="*/ 2147483647 w 34"/>
              <a:gd name="T17" fmla="*/ 2147483647 h 32"/>
              <a:gd name="T18" fmla="*/ 2147483647 w 34"/>
              <a:gd name="T19" fmla="*/ 2147483647 h 32"/>
              <a:gd name="T20" fmla="*/ 2147483647 w 34"/>
              <a:gd name="T21" fmla="*/ 2147483647 h 32"/>
              <a:gd name="T22" fmla="*/ 2147483647 w 34"/>
              <a:gd name="T23" fmla="*/ 2147483647 h 32"/>
              <a:gd name="T24" fmla="*/ 0 w 34"/>
              <a:gd name="T25" fmla="*/ 2147483647 h 32"/>
              <a:gd name="T26" fmla="*/ 0 w 34"/>
              <a:gd name="T27" fmla="*/ 2147483647 h 32"/>
              <a:gd name="T28" fmla="*/ 0 w 34"/>
              <a:gd name="T29" fmla="*/ 2147483647 h 32"/>
              <a:gd name="T30" fmla="*/ 2147483647 w 34"/>
              <a:gd name="T31" fmla="*/ 2147483647 h 32"/>
              <a:gd name="T32" fmla="*/ 2147483647 w 34"/>
              <a:gd name="T33" fmla="*/ 2147483647 h 32"/>
              <a:gd name="T34" fmla="*/ 2147483647 w 34"/>
              <a:gd name="T35" fmla="*/ 2147483647 h 32"/>
              <a:gd name="T36" fmla="*/ 2147483647 w 34"/>
              <a:gd name="T37" fmla="*/ 2147483647 h 32"/>
              <a:gd name="T38" fmla="*/ 2147483647 w 34"/>
              <a:gd name="T39" fmla="*/ 2147483647 h 32"/>
              <a:gd name="T40" fmla="*/ 2147483647 w 34"/>
              <a:gd name="T41" fmla="*/ 0 h 32"/>
              <a:gd name="T42" fmla="*/ 2147483647 w 34"/>
              <a:gd name="T43" fmla="*/ 0 h 32"/>
              <a:gd name="T44" fmla="*/ 2147483647 w 34"/>
              <a:gd name="T45" fmla="*/ 2147483647 h 32"/>
              <a:gd name="T46" fmla="*/ 2147483647 w 34"/>
              <a:gd name="T47" fmla="*/ 2147483647 h 32"/>
              <a:gd name="T48" fmla="*/ 2147483647 w 34"/>
              <a:gd name="T49" fmla="*/ 2147483647 h 32"/>
              <a:gd name="T50" fmla="*/ 2147483647 w 34"/>
              <a:gd name="T51" fmla="*/ 2147483647 h 32"/>
              <a:gd name="T52" fmla="*/ 2147483647 w 34"/>
              <a:gd name="T53" fmla="*/ 2147483647 h 32"/>
              <a:gd name="T54" fmla="*/ 2147483647 w 34"/>
              <a:gd name="T55" fmla="*/ 2147483647 h 32"/>
              <a:gd name="T56" fmla="*/ 2147483647 w 34"/>
              <a:gd name="T57" fmla="*/ 2147483647 h 32"/>
              <a:gd name="T58" fmla="*/ 2147483647 w 34"/>
              <a:gd name="T59" fmla="*/ 2147483647 h 32"/>
              <a:gd name="T60" fmla="*/ 2147483647 w 34"/>
              <a:gd name="T61" fmla="*/ 2147483647 h 32"/>
              <a:gd name="T62" fmla="*/ 2147483647 w 34"/>
              <a:gd name="T63" fmla="*/ 2147483647 h 32"/>
              <a:gd name="T64" fmla="*/ 2147483647 w 34"/>
              <a:gd name="T65" fmla="*/ 2147483647 h 32"/>
              <a:gd name="T66" fmla="*/ 2147483647 w 34"/>
              <a:gd name="T67" fmla="*/ 2147483647 h 3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34"/>
              <a:gd name="T103" fmla="*/ 0 h 32"/>
              <a:gd name="T104" fmla="*/ 34 w 34"/>
              <a:gd name="T105" fmla="*/ 32 h 32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34" h="32">
                <a:moveTo>
                  <a:pt x="31" y="29"/>
                </a:moveTo>
                <a:lnTo>
                  <a:pt x="28" y="29"/>
                </a:lnTo>
                <a:lnTo>
                  <a:pt x="27" y="28"/>
                </a:lnTo>
                <a:lnTo>
                  <a:pt x="27" y="25"/>
                </a:lnTo>
                <a:lnTo>
                  <a:pt x="19" y="25"/>
                </a:lnTo>
                <a:lnTo>
                  <a:pt x="19" y="29"/>
                </a:lnTo>
                <a:lnTo>
                  <a:pt x="15" y="31"/>
                </a:lnTo>
                <a:lnTo>
                  <a:pt x="10" y="31"/>
                </a:lnTo>
                <a:lnTo>
                  <a:pt x="9" y="32"/>
                </a:lnTo>
                <a:lnTo>
                  <a:pt x="5" y="32"/>
                </a:lnTo>
                <a:lnTo>
                  <a:pt x="4" y="31"/>
                </a:lnTo>
                <a:lnTo>
                  <a:pt x="3" y="29"/>
                </a:lnTo>
                <a:lnTo>
                  <a:pt x="0" y="29"/>
                </a:lnTo>
                <a:lnTo>
                  <a:pt x="0" y="25"/>
                </a:lnTo>
                <a:lnTo>
                  <a:pt x="0" y="21"/>
                </a:lnTo>
                <a:lnTo>
                  <a:pt x="2" y="18"/>
                </a:lnTo>
                <a:lnTo>
                  <a:pt x="6" y="16"/>
                </a:lnTo>
                <a:lnTo>
                  <a:pt x="5" y="11"/>
                </a:lnTo>
                <a:lnTo>
                  <a:pt x="9" y="10"/>
                </a:lnTo>
                <a:lnTo>
                  <a:pt x="8" y="4"/>
                </a:lnTo>
                <a:lnTo>
                  <a:pt x="11" y="0"/>
                </a:lnTo>
                <a:lnTo>
                  <a:pt x="18" y="0"/>
                </a:lnTo>
                <a:lnTo>
                  <a:pt x="20" y="3"/>
                </a:lnTo>
                <a:lnTo>
                  <a:pt x="22" y="8"/>
                </a:lnTo>
                <a:lnTo>
                  <a:pt x="24" y="10"/>
                </a:lnTo>
                <a:lnTo>
                  <a:pt x="26" y="11"/>
                </a:lnTo>
                <a:lnTo>
                  <a:pt x="26" y="15"/>
                </a:lnTo>
                <a:lnTo>
                  <a:pt x="28" y="18"/>
                </a:lnTo>
                <a:lnTo>
                  <a:pt x="30" y="20"/>
                </a:lnTo>
                <a:lnTo>
                  <a:pt x="31" y="22"/>
                </a:lnTo>
                <a:lnTo>
                  <a:pt x="32" y="25"/>
                </a:lnTo>
                <a:lnTo>
                  <a:pt x="34" y="25"/>
                </a:lnTo>
                <a:lnTo>
                  <a:pt x="33" y="28"/>
                </a:lnTo>
                <a:lnTo>
                  <a:pt x="31" y="29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" name="Freeform 19"/>
          <p:cNvSpPr>
            <a:spLocks/>
          </p:cNvSpPr>
          <p:nvPr/>
        </p:nvSpPr>
        <p:spPr bwMode="auto">
          <a:xfrm>
            <a:off x="2507807" y="3559174"/>
            <a:ext cx="209550" cy="276225"/>
          </a:xfrm>
          <a:custGeom>
            <a:avLst/>
            <a:gdLst>
              <a:gd name="T0" fmla="*/ 2147483647 w 22"/>
              <a:gd name="T1" fmla="*/ 2147483647 h 29"/>
              <a:gd name="T2" fmla="*/ 2147483647 w 22"/>
              <a:gd name="T3" fmla="*/ 2147483647 h 29"/>
              <a:gd name="T4" fmla="*/ 2147483647 w 22"/>
              <a:gd name="T5" fmla="*/ 2147483647 h 29"/>
              <a:gd name="T6" fmla="*/ 2147483647 w 22"/>
              <a:gd name="T7" fmla="*/ 2147483647 h 29"/>
              <a:gd name="T8" fmla="*/ 2147483647 w 22"/>
              <a:gd name="T9" fmla="*/ 2147483647 h 29"/>
              <a:gd name="T10" fmla="*/ 2147483647 w 22"/>
              <a:gd name="T11" fmla="*/ 2147483647 h 29"/>
              <a:gd name="T12" fmla="*/ 2147483647 w 22"/>
              <a:gd name="T13" fmla="*/ 2147483647 h 29"/>
              <a:gd name="T14" fmla="*/ 2147483647 w 22"/>
              <a:gd name="T15" fmla="*/ 2147483647 h 29"/>
              <a:gd name="T16" fmla="*/ 2147483647 w 22"/>
              <a:gd name="T17" fmla="*/ 2147483647 h 29"/>
              <a:gd name="T18" fmla="*/ 2147483647 w 22"/>
              <a:gd name="T19" fmla="*/ 2147483647 h 29"/>
              <a:gd name="T20" fmla="*/ 2147483647 w 22"/>
              <a:gd name="T21" fmla="*/ 2147483647 h 29"/>
              <a:gd name="T22" fmla="*/ 2147483647 w 22"/>
              <a:gd name="T23" fmla="*/ 0 h 29"/>
              <a:gd name="T24" fmla="*/ 2147483647 w 22"/>
              <a:gd name="T25" fmla="*/ 0 h 29"/>
              <a:gd name="T26" fmla="*/ 2147483647 w 22"/>
              <a:gd name="T27" fmla="*/ 0 h 29"/>
              <a:gd name="T28" fmla="*/ 2147483647 w 22"/>
              <a:gd name="T29" fmla="*/ 2147483647 h 29"/>
              <a:gd name="T30" fmla="*/ 2147483647 w 22"/>
              <a:gd name="T31" fmla="*/ 2147483647 h 29"/>
              <a:gd name="T32" fmla="*/ 0 w 22"/>
              <a:gd name="T33" fmla="*/ 2147483647 h 29"/>
              <a:gd name="T34" fmla="*/ 0 w 22"/>
              <a:gd name="T35" fmla="*/ 2147483647 h 29"/>
              <a:gd name="T36" fmla="*/ 2147483647 w 22"/>
              <a:gd name="T37" fmla="*/ 2147483647 h 29"/>
              <a:gd name="T38" fmla="*/ 2147483647 w 22"/>
              <a:gd name="T39" fmla="*/ 2147483647 h 29"/>
              <a:gd name="T40" fmla="*/ 2147483647 w 22"/>
              <a:gd name="T41" fmla="*/ 2147483647 h 29"/>
              <a:gd name="T42" fmla="*/ 2147483647 w 22"/>
              <a:gd name="T43" fmla="*/ 2147483647 h 29"/>
              <a:gd name="T44" fmla="*/ 2147483647 w 22"/>
              <a:gd name="T45" fmla="*/ 2147483647 h 29"/>
              <a:gd name="T46" fmla="*/ 2147483647 w 22"/>
              <a:gd name="T47" fmla="*/ 2147483647 h 29"/>
              <a:gd name="T48" fmla="*/ 2147483647 w 22"/>
              <a:gd name="T49" fmla="*/ 2147483647 h 29"/>
              <a:gd name="T50" fmla="*/ 2147483647 w 22"/>
              <a:gd name="T51" fmla="*/ 2147483647 h 29"/>
              <a:gd name="T52" fmla="*/ 2147483647 w 22"/>
              <a:gd name="T53" fmla="*/ 2147483647 h 29"/>
              <a:gd name="T54" fmla="*/ 2147483647 w 22"/>
              <a:gd name="T55" fmla="*/ 2147483647 h 29"/>
              <a:gd name="T56" fmla="*/ 2147483647 w 22"/>
              <a:gd name="T57" fmla="*/ 2147483647 h 29"/>
              <a:gd name="T58" fmla="*/ 2147483647 w 22"/>
              <a:gd name="T59" fmla="*/ 2147483647 h 29"/>
              <a:gd name="T60" fmla="*/ 2147483647 w 22"/>
              <a:gd name="T61" fmla="*/ 2147483647 h 2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22"/>
              <a:gd name="T94" fmla="*/ 0 h 29"/>
              <a:gd name="T95" fmla="*/ 22 w 22"/>
              <a:gd name="T96" fmla="*/ 29 h 29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22" h="29">
                <a:moveTo>
                  <a:pt x="13" y="29"/>
                </a:moveTo>
                <a:lnTo>
                  <a:pt x="15" y="26"/>
                </a:lnTo>
                <a:lnTo>
                  <a:pt x="19" y="24"/>
                </a:lnTo>
                <a:lnTo>
                  <a:pt x="18" y="19"/>
                </a:lnTo>
                <a:lnTo>
                  <a:pt x="22" y="18"/>
                </a:lnTo>
                <a:lnTo>
                  <a:pt x="21" y="12"/>
                </a:lnTo>
                <a:lnTo>
                  <a:pt x="21" y="9"/>
                </a:lnTo>
                <a:lnTo>
                  <a:pt x="17" y="6"/>
                </a:lnTo>
                <a:lnTo>
                  <a:pt x="15" y="5"/>
                </a:lnTo>
                <a:lnTo>
                  <a:pt x="12" y="5"/>
                </a:lnTo>
                <a:lnTo>
                  <a:pt x="11" y="3"/>
                </a:lnTo>
                <a:lnTo>
                  <a:pt x="10" y="0"/>
                </a:lnTo>
                <a:lnTo>
                  <a:pt x="7" y="0"/>
                </a:lnTo>
                <a:lnTo>
                  <a:pt x="3" y="0"/>
                </a:lnTo>
                <a:lnTo>
                  <a:pt x="2" y="1"/>
                </a:lnTo>
                <a:lnTo>
                  <a:pt x="1" y="1"/>
                </a:lnTo>
                <a:lnTo>
                  <a:pt x="0" y="1"/>
                </a:lnTo>
                <a:lnTo>
                  <a:pt x="0" y="5"/>
                </a:lnTo>
                <a:lnTo>
                  <a:pt x="1" y="6"/>
                </a:lnTo>
                <a:lnTo>
                  <a:pt x="2" y="7"/>
                </a:lnTo>
                <a:lnTo>
                  <a:pt x="3" y="10"/>
                </a:lnTo>
                <a:lnTo>
                  <a:pt x="3" y="12"/>
                </a:lnTo>
                <a:lnTo>
                  <a:pt x="5" y="13"/>
                </a:lnTo>
                <a:lnTo>
                  <a:pt x="7" y="14"/>
                </a:lnTo>
                <a:lnTo>
                  <a:pt x="8" y="15"/>
                </a:lnTo>
                <a:lnTo>
                  <a:pt x="8" y="18"/>
                </a:lnTo>
                <a:lnTo>
                  <a:pt x="8" y="20"/>
                </a:lnTo>
                <a:lnTo>
                  <a:pt x="8" y="23"/>
                </a:lnTo>
                <a:lnTo>
                  <a:pt x="10" y="25"/>
                </a:lnTo>
                <a:lnTo>
                  <a:pt x="11" y="28"/>
                </a:lnTo>
                <a:lnTo>
                  <a:pt x="13" y="29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0" name="Freeform 20"/>
          <p:cNvSpPr>
            <a:spLocks/>
          </p:cNvSpPr>
          <p:nvPr/>
        </p:nvSpPr>
        <p:spPr bwMode="auto">
          <a:xfrm>
            <a:off x="2517332" y="3406774"/>
            <a:ext cx="238125" cy="266700"/>
          </a:xfrm>
          <a:custGeom>
            <a:avLst/>
            <a:gdLst>
              <a:gd name="T0" fmla="*/ 2147483647 w 25"/>
              <a:gd name="T1" fmla="*/ 2147483647 h 28"/>
              <a:gd name="T2" fmla="*/ 2147483647 w 25"/>
              <a:gd name="T3" fmla="*/ 2147483647 h 28"/>
              <a:gd name="T4" fmla="*/ 2147483647 w 25"/>
              <a:gd name="T5" fmla="*/ 2147483647 h 28"/>
              <a:gd name="T6" fmla="*/ 2147483647 w 25"/>
              <a:gd name="T7" fmla="*/ 2147483647 h 28"/>
              <a:gd name="T8" fmla="*/ 2147483647 w 25"/>
              <a:gd name="T9" fmla="*/ 2147483647 h 28"/>
              <a:gd name="T10" fmla="*/ 2147483647 w 25"/>
              <a:gd name="T11" fmla="*/ 2147483647 h 28"/>
              <a:gd name="T12" fmla="*/ 2147483647 w 25"/>
              <a:gd name="T13" fmla="*/ 2147483647 h 28"/>
              <a:gd name="T14" fmla="*/ 2147483647 w 25"/>
              <a:gd name="T15" fmla="*/ 2147483647 h 28"/>
              <a:gd name="T16" fmla="*/ 2147483647 w 25"/>
              <a:gd name="T17" fmla="*/ 2147483647 h 28"/>
              <a:gd name="T18" fmla="*/ 2147483647 w 25"/>
              <a:gd name="T19" fmla="*/ 2147483647 h 28"/>
              <a:gd name="T20" fmla="*/ 2147483647 w 25"/>
              <a:gd name="T21" fmla="*/ 2147483647 h 28"/>
              <a:gd name="T22" fmla="*/ 2147483647 w 25"/>
              <a:gd name="T23" fmla="*/ 2147483647 h 28"/>
              <a:gd name="T24" fmla="*/ 2147483647 w 25"/>
              <a:gd name="T25" fmla="*/ 2147483647 h 28"/>
              <a:gd name="T26" fmla="*/ 2147483647 w 25"/>
              <a:gd name="T27" fmla="*/ 2147483647 h 28"/>
              <a:gd name="T28" fmla="*/ 2147483647 w 25"/>
              <a:gd name="T29" fmla="*/ 2147483647 h 28"/>
              <a:gd name="T30" fmla="*/ 0 w 25"/>
              <a:gd name="T31" fmla="*/ 2147483647 h 28"/>
              <a:gd name="T32" fmla="*/ 2147483647 w 25"/>
              <a:gd name="T33" fmla="*/ 2147483647 h 28"/>
              <a:gd name="T34" fmla="*/ 2147483647 w 25"/>
              <a:gd name="T35" fmla="*/ 2147483647 h 28"/>
              <a:gd name="T36" fmla="*/ 2147483647 w 25"/>
              <a:gd name="T37" fmla="*/ 2147483647 h 28"/>
              <a:gd name="T38" fmla="*/ 2147483647 w 25"/>
              <a:gd name="T39" fmla="*/ 0 h 28"/>
              <a:gd name="T40" fmla="*/ 2147483647 w 25"/>
              <a:gd name="T41" fmla="*/ 2147483647 h 28"/>
              <a:gd name="T42" fmla="*/ 2147483647 w 25"/>
              <a:gd name="T43" fmla="*/ 0 h 28"/>
              <a:gd name="T44" fmla="*/ 2147483647 w 25"/>
              <a:gd name="T45" fmla="*/ 0 h 28"/>
              <a:gd name="T46" fmla="*/ 2147483647 w 25"/>
              <a:gd name="T47" fmla="*/ 0 h 28"/>
              <a:gd name="T48" fmla="*/ 2147483647 w 25"/>
              <a:gd name="T49" fmla="*/ 2147483647 h 28"/>
              <a:gd name="T50" fmla="*/ 2147483647 w 25"/>
              <a:gd name="T51" fmla="*/ 2147483647 h 28"/>
              <a:gd name="T52" fmla="*/ 2147483647 w 25"/>
              <a:gd name="T53" fmla="*/ 2147483647 h 28"/>
              <a:gd name="T54" fmla="*/ 2147483647 w 25"/>
              <a:gd name="T55" fmla="*/ 2147483647 h 28"/>
              <a:gd name="T56" fmla="*/ 2147483647 w 25"/>
              <a:gd name="T57" fmla="*/ 2147483647 h 28"/>
              <a:gd name="T58" fmla="*/ 2147483647 w 25"/>
              <a:gd name="T59" fmla="*/ 2147483647 h 28"/>
              <a:gd name="T60" fmla="*/ 2147483647 w 25"/>
              <a:gd name="T61" fmla="*/ 2147483647 h 28"/>
              <a:gd name="T62" fmla="*/ 2147483647 w 25"/>
              <a:gd name="T63" fmla="*/ 2147483647 h 28"/>
              <a:gd name="T64" fmla="*/ 2147483647 w 25"/>
              <a:gd name="T65" fmla="*/ 2147483647 h 28"/>
              <a:gd name="T66" fmla="*/ 2147483647 w 25"/>
              <a:gd name="T67" fmla="*/ 2147483647 h 28"/>
              <a:gd name="T68" fmla="*/ 2147483647 w 25"/>
              <a:gd name="T69" fmla="*/ 2147483647 h 2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5"/>
              <a:gd name="T106" fmla="*/ 0 h 28"/>
              <a:gd name="T107" fmla="*/ 25 w 25"/>
              <a:gd name="T108" fmla="*/ 28 h 28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5" h="28">
                <a:moveTo>
                  <a:pt x="25" y="24"/>
                </a:moveTo>
                <a:lnTo>
                  <a:pt x="23" y="24"/>
                </a:lnTo>
                <a:lnTo>
                  <a:pt x="20" y="28"/>
                </a:lnTo>
                <a:lnTo>
                  <a:pt x="20" y="25"/>
                </a:lnTo>
                <a:lnTo>
                  <a:pt x="16" y="22"/>
                </a:lnTo>
                <a:lnTo>
                  <a:pt x="14" y="21"/>
                </a:lnTo>
                <a:lnTo>
                  <a:pt x="11" y="21"/>
                </a:lnTo>
                <a:lnTo>
                  <a:pt x="10" y="19"/>
                </a:lnTo>
                <a:lnTo>
                  <a:pt x="9" y="16"/>
                </a:lnTo>
                <a:lnTo>
                  <a:pt x="6" y="16"/>
                </a:lnTo>
                <a:lnTo>
                  <a:pt x="2" y="16"/>
                </a:lnTo>
                <a:lnTo>
                  <a:pt x="3" y="13"/>
                </a:lnTo>
                <a:lnTo>
                  <a:pt x="3" y="10"/>
                </a:lnTo>
                <a:lnTo>
                  <a:pt x="2" y="8"/>
                </a:lnTo>
                <a:lnTo>
                  <a:pt x="1" y="7"/>
                </a:lnTo>
                <a:lnTo>
                  <a:pt x="0" y="5"/>
                </a:lnTo>
                <a:lnTo>
                  <a:pt x="2" y="4"/>
                </a:lnTo>
                <a:lnTo>
                  <a:pt x="3" y="3"/>
                </a:lnTo>
                <a:lnTo>
                  <a:pt x="4" y="2"/>
                </a:lnTo>
                <a:lnTo>
                  <a:pt x="4" y="0"/>
                </a:lnTo>
                <a:lnTo>
                  <a:pt x="7" y="1"/>
                </a:lnTo>
                <a:lnTo>
                  <a:pt x="9" y="0"/>
                </a:lnTo>
                <a:lnTo>
                  <a:pt x="12" y="0"/>
                </a:lnTo>
                <a:lnTo>
                  <a:pt x="16" y="0"/>
                </a:lnTo>
                <a:lnTo>
                  <a:pt x="17" y="3"/>
                </a:lnTo>
                <a:lnTo>
                  <a:pt x="18" y="5"/>
                </a:lnTo>
                <a:lnTo>
                  <a:pt x="21" y="6"/>
                </a:lnTo>
                <a:lnTo>
                  <a:pt x="21" y="10"/>
                </a:lnTo>
                <a:lnTo>
                  <a:pt x="21" y="13"/>
                </a:lnTo>
                <a:lnTo>
                  <a:pt x="21" y="14"/>
                </a:lnTo>
                <a:lnTo>
                  <a:pt x="23" y="16"/>
                </a:lnTo>
                <a:lnTo>
                  <a:pt x="23" y="18"/>
                </a:lnTo>
                <a:lnTo>
                  <a:pt x="25" y="20"/>
                </a:lnTo>
                <a:lnTo>
                  <a:pt x="25" y="22"/>
                </a:lnTo>
                <a:lnTo>
                  <a:pt x="25" y="24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1" name="Freeform 21"/>
          <p:cNvSpPr>
            <a:spLocks/>
          </p:cNvSpPr>
          <p:nvPr/>
        </p:nvSpPr>
        <p:spPr bwMode="auto">
          <a:xfrm>
            <a:off x="2879282" y="3625849"/>
            <a:ext cx="238125" cy="247650"/>
          </a:xfrm>
          <a:custGeom>
            <a:avLst/>
            <a:gdLst>
              <a:gd name="T0" fmla="*/ 2147483647 w 25"/>
              <a:gd name="T1" fmla="*/ 2147483647 h 26"/>
              <a:gd name="T2" fmla="*/ 2147483647 w 25"/>
              <a:gd name="T3" fmla="*/ 2147483647 h 26"/>
              <a:gd name="T4" fmla="*/ 2147483647 w 25"/>
              <a:gd name="T5" fmla="*/ 2147483647 h 26"/>
              <a:gd name="T6" fmla="*/ 2147483647 w 25"/>
              <a:gd name="T7" fmla="*/ 2147483647 h 26"/>
              <a:gd name="T8" fmla="*/ 2147483647 w 25"/>
              <a:gd name="T9" fmla="*/ 2147483647 h 26"/>
              <a:gd name="T10" fmla="*/ 0 w 25"/>
              <a:gd name="T11" fmla="*/ 2147483647 h 26"/>
              <a:gd name="T12" fmla="*/ 0 w 25"/>
              <a:gd name="T13" fmla="*/ 2147483647 h 26"/>
              <a:gd name="T14" fmla="*/ 2147483647 w 25"/>
              <a:gd name="T15" fmla="*/ 2147483647 h 26"/>
              <a:gd name="T16" fmla="*/ 2147483647 w 25"/>
              <a:gd name="T17" fmla="*/ 2147483647 h 26"/>
              <a:gd name="T18" fmla="*/ 2147483647 w 25"/>
              <a:gd name="T19" fmla="*/ 2147483647 h 26"/>
              <a:gd name="T20" fmla="*/ 2147483647 w 25"/>
              <a:gd name="T21" fmla="*/ 2147483647 h 26"/>
              <a:gd name="T22" fmla="*/ 2147483647 w 25"/>
              <a:gd name="T23" fmla="*/ 2147483647 h 26"/>
              <a:gd name="T24" fmla="*/ 2147483647 w 25"/>
              <a:gd name="T25" fmla="*/ 2147483647 h 26"/>
              <a:gd name="T26" fmla="*/ 2147483647 w 25"/>
              <a:gd name="T27" fmla="*/ 2147483647 h 26"/>
              <a:gd name="T28" fmla="*/ 2147483647 w 25"/>
              <a:gd name="T29" fmla="*/ 0 h 26"/>
              <a:gd name="T30" fmla="*/ 2147483647 w 25"/>
              <a:gd name="T31" fmla="*/ 0 h 26"/>
              <a:gd name="T32" fmla="*/ 2147483647 w 25"/>
              <a:gd name="T33" fmla="*/ 2147483647 h 26"/>
              <a:gd name="T34" fmla="*/ 2147483647 w 25"/>
              <a:gd name="T35" fmla="*/ 2147483647 h 26"/>
              <a:gd name="T36" fmla="*/ 2147483647 w 25"/>
              <a:gd name="T37" fmla="*/ 2147483647 h 26"/>
              <a:gd name="T38" fmla="*/ 2147483647 w 25"/>
              <a:gd name="T39" fmla="*/ 2147483647 h 26"/>
              <a:gd name="T40" fmla="*/ 2147483647 w 25"/>
              <a:gd name="T41" fmla="*/ 2147483647 h 26"/>
              <a:gd name="T42" fmla="*/ 2147483647 w 25"/>
              <a:gd name="T43" fmla="*/ 2147483647 h 26"/>
              <a:gd name="T44" fmla="*/ 2147483647 w 25"/>
              <a:gd name="T45" fmla="*/ 2147483647 h 26"/>
              <a:gd name="T46" fmla="*/ 2147483647 w 25"/>
              <a:gd name="T47" fmla="*/ 2147483647 h 26"/>
              <a:gd name="T48" fmla="*/ 2147483647 w 25"/>
              <a:gd name="T49" fmla="*/ 2147483647 h 26"/>
              <a:gd name="T50" fmla="*/ 2147483647 w 25"/>
              <a:gd name="T51" fmla="*/ 2147483647 h 26"/>
              <a:gd name="T52" fmla="*/ 2147483647 w 25"/>
              <a:gd name="T53" fmla="*/ 2147483647 h 26"/>
              <a:gd name="T54" fmla="*/ 2147483647 w 25"/>
              <a:gd name="T55" fmla="*/ 2147483647 h 26"/>
              <a:gd name="T56" fmla="*/ 2147483647 w 25"/>
              <a:gd name="T57" fmla="*/ 2147483647 h 26"/>
              <a:gd name="T58" fmla="*/ 2147483647 w 25"/>
              <a:gd name="T59" fmla="*/ 2147483647 h 26"/>
              <a:gd name="T60" fmla="*/ 2147483647 w 25"/>
              <a:gd name="T61" fmla="*/ 2147483647 h 26"/>
              <a:gd name="T62" fmla="*/ 2147483647 w 25"/>
              <a:gd name="T63" fmla="*/ 2147483647 h 26"/>
              <a:gd name="T64" fmla="*/ 2147483647 w 25"/>
              <a:gd name="T65" fmla="*/ 2147483647 h 2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5"/>
              <a:gd name="T100" fmla="*/ 0 h 26"/>
              <a:gd name="T101" fmla="*/ 25 w 25"/>
              <a:gd name="T102" fmla="*/ 26 h 2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5" h="26">
                <a:moveTo>
                  <a:pt x="8" y="26"/>
                </a:moveTo>
                <a:lnTo>
                  <a:pt x="6" y="26"/>
                </a:lnTo>
                <a:lnTo>
                  <a:pt x="5" y="23"/>
                </a:lnTo>
                <a:lnTo>
                  <a:pt x="4" y="21"/>
                </a:lnTo>
                <a:lnTo>
                  <a:pt x="2" y="19"/>
                </a:lnTo>
                <a:lnTo>
                  <a:pt x="0" y="16"/>
                </a:lnTo>
                <a:lnTo>
                  <a:pt x="0" y="12"/>
                </a:lnTo>
                <a:lnTo>
                  <a:pt x="4" y="12"/>
                </a:lnTo>
                <a:lnTo>
                  <a:pt x="4" y="8"/>
                </a:lnTo>
                <a:lnTo>
                  <a:pt x="4" y="5"/>
                </a:lnTo>
                <a:lnTo>
                  <a:pt x="4" y="3"/>
                </a:lnTo>
                <a:lnTo>
                  <a:pt x="7" y="3"/>
                </a:lnTo>
                <a:lnTo>
                  <a:pt x="8" y="1"/>
                </a:lnTo>
                <a:lnTo>
                  <a:pt x="10" y="1"/>
                </a:lnTo>
                <a:lnTo>
                  <a:pt x="11" y="0"/>
                </a:lnTo>
                <a:lnTo>
                  <a:pt x="14" y="0"/>
                </a:lnTo>
                <a:lnTo>
                  <a:pt x="14" y="1"/>
                </a:lnTo>
                <a:lnTo>
                  <a:pt x="16" y="1"/>
                </a:lnTo>
                <a:lnTo>
                  <a:pt x="16" y="3"/>
                </a:lnTo>
                <a:lnTo>
                  <a:pt x="19" y="4"/>
                </a:lnTo>
                <a:lnTo>
                  <a:pt x="22" y="3"/>
                </a:lnTo>
                <a:lnTo>
                  <a:pt x="25" y="5"/>
                </a:lnTo>
                <a:lnTo>
                  <a:pt x="23" y="6"/>
                </a:lnTo>
                <a:lnTo>
                  <a:pt x="21" y="8"/>
                </a:lnTo>
                <a:lnTo>
                  <a:pt x="20" y="12"/>
                </a:lnTo>
                <a:lnTo>
                  <a:pt x="20" y="16"/>
                </a:lnTo>
                <a:lnTo>
                  <a:pt x="20" y="20"/>
                </a:lnTo>
                <a:lnTo>
                  <a:pt x="18" y="20"/>
                </a:lnTo>
                <a:lnTo>
                  <a:pt x="18" y="22"/>
                </a:lnTo>
                <a:lnTo>
                  <a:pt x="15" y="23"/>
                </a:lnTo>
                <a:lnTo>
                  <a:pt x="12" y="24"/>
                </a:lnTo>
                <a:lnTo>
                  <a:pt x="10" y="24"/>
                </a:lnTo>
                <a:lnTo>
                  <a:pt x="8" y="26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2" name="Freeform 22"/>
          <p:cNvSpPr>
            <a:spLocks/>
          </p:cNvSpPr>
          <p:nvPr/>
        </p:nvSpPr>
        <p:spPr bwMode="auto">
          <a:xfrm>
            <a:off x="2926907" y="3835399"/>
            <a:ext cx="476250" cy="514350"/>
          </a:xfrm>
          <a:custGeom>
            <a:avLst/>
            <a:gdLst>
              <a:gd name="T0" fmla="*/ 2147483647 w 50"/>
              <a:gd name="T1" fmla="*/ 2147483647 h 54"/>
              <a:gd name="T2" fmla="*/ 2147483647 w 50"/>
              <a:gd name="T3" fmla="*/ 2147483647 h 54"/>
              <a:gd name="T4" fmla="*/ 2147483647 w 50"/>
              <a:gd name="T5" fmla="*/ 2147483647 h 54"/>
              <a:gd name="T6" fmla="*/ 2147483647 w 50"/>
              <a:gd name="T7" fmla="*/ 2147483647 h 54"/>
              <a:gd name="T8" fmla="*/ 2147483647 w 50"/>
              <a:gd name="T9" fmla="*/ 2147483647 h 54"/>
              <a:gd name="T10" fmla="*/ 2147483647 w 50"/>
              <a:gd name="T11" fmla="*/ 2147483647 h 54"/>
              <a:gd name="T12" fmla="*/ 2147483647 w 50"/>
              <a:gd name="T13" fmla="*/ 2147483647 h 54"/>
              <a:gd name="T14" fmla="*/ 2147483647 w 50"/>
              <a:gd name="T15" fmla="*/ 2147483647 h 54"/>
              <a:gd name="T16" fmla="*/ 2147483647 w 50"/>
              <a:gd name="T17" fmla="*/ 2147483647 h 54"/>
              <a:gd name="T18" fmla="*/ 2147483647 w 50"/>
              <a:gd name="T19" fmla="*/ 2147483647 h 54"/>
              <a:gd name="T20" fmla="*/ 2147483647 w 50"/>
              <a:gd name="T21" fmla="*/ 2147483647 h 54"/>
              <a:gd name="T22" fmla="*/ 2147483647 w 50"/>
              <a:gd name="T23" fmla="*/ 2147483647 h 54"/>
              <a:gd name="T24" fmla="*/ 2147483647 w 50"/>
              <a:gd name="T25" fmla="*/ 2147483647 h 54"/>
              <a:gd name="T26" fmla="*/ 2147483647 w 50"/>
              <a:gd name="T27" fmla="*/ 2147483647 h 54"/>
              <a:gd name="T28" fmla="*/ 2147483647 w 50"/>
              <a:gd name="T29" fmla="*/ 2147483647 h 54"/>
              <a:gd name="T30" fmla="*/ 2147483647 w 50"/>
              <a:gd name="T31" fmla="*/ 2147483647 h 54"/>
              <a:gd name="T32" fmla="*/ 2147483647 w 50"/>
              <a:gd name="T33" fmla="*/ 2147483647 h 54"/>
              <a:gd name="T34" fmla="*/ 2147483647 w 50"/>
              <a:gd name="T35" fmla="*/ 2147483647 h 54"/>
              <a:gd name="T36" fmla="*/ 2147483647 w 50"/>
              <a:gd name="T37" fmla="*/ 2147483647 h 54"/>
              <a:gd name="T38" fmla="*/ 2147483647 w 50"/>
              <a:gd name="T39" fmla="*/ 2147483647 h 54"/>
              <a:gd name="T40" fmla="*/ 2147483647 w 50"/>
              <a:gd name="T41" fmla="*/ 2147483647 h 54"/>
              <a:gd name="T42" fmla="*/ 2147483647 w 50"/>
              <a:gd name="T43" fmla="*/ 2147483647 h 54"/>
              <a:gd name="T44" fmla="*/ 2147483647 w 50"/>
              <a:gd name="T45" fmla="*/ 2147483647 h 54"/>
              <a:gd name="T46" fmla="*/ 2147483647 w 50"/>
              <a:gd name="T47" fmla="*/ 2147483647 h 54"/>
              <a:gd name="T48" fmla="*/ 2147483647 w 50"/>
              <a:gd name="T49" fmla="*/ 2147483647 h 54"/>
              <a:gd name="T50" fmla="*/ 2147483647 w 50"/>
              <a:gd name="T51" fmla="*/ 2147483647 h 54"/>
              <a:gd name="T52" fmla="*/ 2147483647 w 50"/>
              <a:gd name="T53" fmla="*/ 2147483647 h 54"/>
              <a:gd name="T54" fmla="*/ 2147483647 w 50"/>
              <a:gd name="T55" fmla="*/ 2147483647 h 54"/>
              <a:gd name="T56" fmla="*/ 2147483647 w 50"/>
              <a:gd name="T57" fmla="*/ 2147483647 h 54"/>
              <a:gd name="T58" fmla="*/ 2147483647 w 50"/>
              <a:gd name="T59" fmla="*/ 2147483647 h 54"/>
              <a:gd name="T60" fmla="*/ 2147483647 w 50"/>
              <a:gd name="T61" fmla="*/ 2147483647 h 54"/>
              <a:gd name="T62" fmla="*/ 2147483647 w 50"/>
              <a:gd name="T63" fmla="*/ 2147483647 h 54"/>
              <a:gd name="T64" fmla="*/ 2147483647 w 50"/>
              <a:gd name="T65" fmla="*/ 2147483647 h 54"/>
              <a:gd name="T66" fmla="*/ 2147483647 w 50"/>
              <a:gd name="T67" fmla="*/ 2147483647 h 54"/>
              <a:gd name="T68" fmla="*/ 2147483647 w 50"/>
              <a:gd name="T69" fmla="*/ 2147483647 h 54"/>
              <a:gd name="T70" fmla="*/ 2147483647 w 50"/>
              <a:gd name="T71" fmla="*/ 2147483647 h 54"/>
              <a:gd name="T72" fmla="*/ 2147483647 w 50"/>
              <a:gd name="T73" fmla="*/ 2147483647 h 54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50"/>
              <a:gd name="T112" fmla="*/ 0 h 54"/>
              <a:gd name="T113" fmla="*/ 50 w 50"/>
              <a:gd name="T114" fmla="*/ 54 h 54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50" h="54">
                <a:moveTo>
                  <a:pt x="18" y="44"/>
                </a:moveTo>
                <a:lnTo>
                  <a:pt x="18" y="44"/>
                </a:lnTo>
                <a:lnTo>
                  <a:pt x="18" y="41"/>
                </a:lnTo>
                <a:lnTo>
                  <a:pt x="18" y="37"/>
                </a:lnTo>
                <a:lnTo>
                  <a:pt x="18" y="35"/>
                </a:lnTo>
                <a:lnTo>
                  <a:pt x="14" y="35"/>
                </a:lnTo>
                <a:lnTo>
                  <a:pt x="13" y="32"/>
                </a:lnTo>
                <a:lnTo>
                  <a:pt x="13" y="30"/>
                </a:lnTo>
                <a:lnTo>
                  <a:pt x="9" y="30"/>
                </a:lnTo>
                <a:lnTo>
                  <a:pt x="10" y="27"/>
                </a:lnTo>
                <a:lnTo>
                  <a:pt x="12" y="25"/>
                </a:lnTo>
                <a:lnTo>
                  <a:pt x="11" y="23"/>
                </a:lnTo>
                <a:lnTo>
                  <a:pt x="12" y="22"/>
                </a:lnTo>
                <a:lnTo>
                  <a:pt x="12" y="21"/>
                </a:lnTo>
                <a:lnTo>
                  <a:pt x="9" y="18"/>
                </a:lnTo>
                <a:lnTo>
                  <a:pt x="6" y="18"/>
                </a:lnTo>
                <a:lnTo>
                  <a:pt x="6" y="15"/>
                </a:lnTo>
                <a:lnTo>
                  <a:pt x="3" y="15"/>
                </a:lnTo>
                <a:lnTo>
                  <a:pt x="1" y="13"/>
                </a:lnTo>
                <a:lnTo>
                  <a:pt x="2" y="11"/>
                </a:lnTo>
                <a:lnTo>
                  <a:pt x="0" y="8"/>
                </a:lnTo>
                <a:lnTo>
                  <a:pt x="2" y="7"/>
                </a:lnTo>
                <a:lnTo>
                  <a:pt x="3" y="4"/>
                </a:lnTo>
                <a:lnTo>
                  <a:pt x="5" y="2"/>
                </a:lnTo>
                <a:lnTo>
                  <a:pt x="7" y="2"/>
                </a:lnTo>
                <a:lnTo>
                  <a:pt x="10" y="1"/>
                </a:lnTo>
                <a:lnTo>
                  <a:pt x="13" y="0"/>
                </a:lnTo>
                <a:lnTo>
                  <a:pt x="15" y="4"/>
                </a:lnTo>
                <a:lnTo>
                  <a:pt x="17" y="6"/>
                </a:lnTo>
                <a:lnTo>
                  <a:pt x="17" y="8"/>
                </a:lnTo>
                <a:lnTo>
                  <a:pt x="21" y="8"/>
                </a:lnTo>
                <a:lnTo>
                  <a:pt x="21" y="10"/>
                </a:lnTo>
                <a:lnTo>
                  <a:pt x="22" y="11"/>
                </a:lnTo>
                <a:lnTo>
                  <a:pt x="22" y="13"/>
                </a:lnTo>
                <a:lnTo>
                  <a:pt x="24" y="12"/>
                </a:lnTo>
                <a:lnTo>
                  <a:pt x="26" y="13"/>
                </a:lnTo>
                <a:lnTo>
                  <a:pt x="26" y="14"/>
                </a:lnTo>
                <a:lnTo>
                  <a:pt x="27" y="16"/>
                </a:lnTo>
                <a:lnTo>
                  <a:pt x="31" y="16"/>
                </a:lnTo>
                <a:lnTo>
                  <a:pt x="33" y="16"/>
                </a:lnTo>
                <a:lnTo>
                  <a:pt x="35" y="17"/>
                </a:lnTo>
                <a:lnTo>
                  <a:pt x="36" y="19"/>
                </a:lnTo>
                <a:lnTo>
                  <a:pt x="36" y="21"/>
                </a:lnTo>
                <a:lnTo>
                  <a:pt x="37" y="22"/>
                </a:lnTo>
                <a:lnTo>
                  <a:pt x="39" y="23"/>
                </a:lnTo>
                <a:lnTo>
                  <a:pt x="42" y="24"/>
                </a:lnTo>
                <a:lnTo>
                  <a:pt x="43" y="25"/>
                </a:lnTo>
                <a:lnTo>
                  <a:pt x="44" y="27"/>
                </a:lnTo>
                <a:lnTo>
                  <a:pt x="44" y="29"/>
                </a:lnTo>
                <a:lnTo>
                  <a:pt x="45" y="31"/>
                </a:lnTo>
                <a:lnTo>
                  <a:pt x="46" y="33"/>
                </a:lnTo>
                <a:lnTo>
                  <a:pt x="47" y="34"/>
                </a:lnTo>
                <a:lnTo>
                  <a:pt x="48" y="38"/>
                </a:lnTo>
                <a:lnTo>
                  <a:pt x="48" y="39"/>
                </a:lnTo>
                <a:lnTo>
                  <a:pt x="48" y="40"/>
                </a:lnTo>
                <a:lnTo>
                  <a:pt x="49" y="42"/>
                </a:lnTo>
                <a:lnTo>
                  <a:pt x="50" y="44"/>
                </a:lnTo>
                <a:lnTo>
                  <a:pt x="50" y="46"/>
                </a:lnTo>
                <a:lnTo>
                  <a:pt x="46" y="47"/>
                </a:lnTo>
                <a:lnTo>
                  <a:pt x="44" y="49"/>
                </a:lnTo>
                <a:lnTo>
                  <a:pt x="40" y="49"/>
                </a:lnTo>
                <a:lnTo>
                  <a:pt x="38" y="48"/>
                </a:lnTo>
                <a:lnTo>
                  <a:pt x="37" y="47"/>
                </a:lnTo>
                <a:lnTo>
                  <a:pt x="35" y="48"/>
                </a:lnTo>
                <a:lnTo>
                  <a:pt x="33" y="49"/>
                </a:lnTo>
                <a:lnTo>
                  <a:pt x="30" y="48"/>
                </a:lnTo>
                <a:lnTo>
                  <a:pt x="27" y="48"/>
                </a:lnTo>
                <a:lnTo>
                  <a:pt x="27" y="51"/>
                </a:lnTo>
                <a:lnTo>
                  <a:pt x="25" y="54"/>
                </a:lnTo>
                <a:lnTo>
                  <a:pt x="21" y="54"/>
                </a:lnTo>
                <a:lnTo>
                  <a:pt x="19" y="52"/>
                </a:lnTo>
                <a:lnTo>
                  <a:pt x="20" y="49"/>
                </a:lnTo>
                <a:lnTo>
                  <a:pt x="20" y="46"/>
                </a:lnTo>
                <a:lnTo>
                  <a:pt x="18" y="44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 anchor="b"/>
          <a:lstStyle/>
          <a:p>
            <a:endParaRPr lang="ru-RU"/>
          </a:p>
        </p:txBody>
      </p:sp>
      <p:sp>
        <p:nvSpPr>
          <p:cNvPr id="33" name="Freeform 23"/>
          <p:cNvSpPr>
            <a:spLocks/>
          </p:cNvSpPr>
          <p:nvPr/>
        </p:nvSpPr>
        <p:spPr bwMode="auto">
          <a:xfrm>
            <a:off x="2755457" y="3540124"/>
            <a:ext cx="228600" cy="200025"/>
          </a:xfrm>
          <a:custGeom>
            <a:avLst/>
            <a:gdLst>
              <a:gd name="T0" fmla="*/ 2147483647 w 24"/>
              <a:gd name="T1" fmla="*/ 2147483647 h 21"/>
              <a:gd name="T2" fmla="*/ 2147483647 w 24"/>
              <a:gd name="T3" fmla="*/ 2147483647 h 21"/>
              <a:gd name="T4" fmla="*/ 2147483647 w 24"/>
              <a:gd name="T5" fmla="*/ 2147483647 h 21"/>
              <a:gd name="T6" fmla="*/ 2147483647 w 24"/>
              <a:gd name="T7" fmla="*/ 2147483647 h 21"/>
              <a:gd name="T8" fmla="*/ 2147483647 w 24"/>
              <a:gd name="T9" fmla="*/ 2147483647 h 21"/>
              <a:gd name="T10" fmla="*/ 2147483647 w 24"/>
              <a:gd name="T11" fmla="*/ 2147483647 h 21"/>
              <a:gd name="T12" fmla="*/ 2147483647 w 24"/>
              <a:gd name="T13" fmla="*/ 2147483647 h 21"/>
              <a:gd name="T14" fmla="*/ 2147483647 w 24"/>
              <a:gd name="T15" fmla="*/ 2147483647 h 21"/>
              <a:gd name="T16" fmla="*/ 2147483647 w 24"/>
              <a:gd name="T17" fmla="*/ 2147483647 h 21"/>
              <a:gd name="T18" fmla="*/ 2147483647 w 24"/>
              <a:gd name="T19" fmla="*/ 2147483647 h 21"/>
              <a:gd name="T20" fmla="*/ 2147483647 w 24"/>
              <a:gd name="T21" fmla="*/ 2147483647 h 21"/>
              <a:gd name="T22" fmla="*/ 2147483647 w 24"/>
              <a:gd name="T23" fmla="*/ 2147483647 h 21"/>
              <a:gd name="T24" fmla="*/ 2147483647 w 24"/>
              <a:gd name="T25" fmla="*/ 2147483647 h 21"/>
              <a:gd name="T26" fmla="*/ 0 w 24"/>
              <a:gd name="T27" fmla="*/ 2147483647 h 21"/>
              <a:gd name="T28" fmla="*/ 0 w 24"/>
              <a:gd name="T29" fmla="*/ 2147483647 h 21"/>
              <a:gd name="T30" fmla="*/ 0 w 24"/>
              <a:gd name="T31" fmla="*/ 2147483647 h 21"/>
              <a:gd name="T32" fmla="*/ 2147483647 w 24"/>
              <a:gd name="T33" fmla="*/ 2147483647 h 21"/>
              <a:gd name="T34" fmla="*/ 2147483647 w 24"/>
              <a:gd name="T35" fmla="*/ 2147483647 h 21"/>
              <a:gd name="T36" fmla="*/ 2147483647 w 24"/>
              <a:gd name="T37" fmla="*/ 2147483647 h 21"/>
              <a:gd name="T38" fmla="*/ 2147483647 w 24"/>
              <a:gd name="T39" fmla="*/ 0 h 21"/>
              <a:gd name="T40" fmla="*/ 2147483647 w 24"/>
              <a:gd name="T41" fmla="*/ 2147483647 h 21"/>
              <a:gd name="T42" fmla="*/ 2147483647 w 24"/>
              <a:gd name="T43" fmla="*/ 0 h 21"/>
              <a:gd name="T44" fmla="*/ 2147483647 w 24"/>
              <a:gd name="T45" fmla="*/ 0 h 21"/>
              <a:gd name="T46" fmla="*/ 2147483647 w 24"/>
              <a:gd name="T47" fmla="*/ 0 h 21"/>
              <a:gd name="T48" fmla="*/ 2147483647 w 24"/>
              <a:gd name="T49" fmla="*/ 2147483647 h 21"/>
              <a:gd name="T50" fmla="*/ 2147483647 w 24"/>
              <a:gd name="T51" fmla="*/ 2147483647 h 21"/>
              <a:gd name="T52" fmla="*/ 2147483647 w 24"/>
              <a:gd name="T53" fmla="*/ 2147483647 h 21"/>
              <a:gd name="T54" fmla="*/ 2147483647 w 24"/>
              <a:gd name="T55" fmla="*/ 2147483647 h 21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24"/>
              <a:gd name="T85" fmla="*/ 0 h 21"/>
              <a:gd name="T86" fmla="*/ 24 w 24"/>
              <a:gd name="T87" fmla="*/ 21 h 21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24" h="21">
                <a:moveTo>
                  <a:pt x="24" y="9"/>
                </a:moveTo>
                <a:lnTo>
                  <a:pt x="23" y="10"/>
                </a:lnTo>
                <a:lnTo>
                  <a:pt x="21" y="10"/>
                </a:lnTo>
                <a:lnTo>
                  <a:pt x="20" y="12"/>
                </a:lnTo>
                <a:lnTo>
                  <a:pt x="17" y="12"/>
                </a:lnTo>
                <a:lnTo>
                  <a:pt x="17" y="14"/>
                </a:lnTo>
                <a:lnTo>
                  <a:pt x="17" y="17"/>
                </a:lnTo>
                <a:lnTo>
                  <a:pt x="17" y="21"/>
                </a:lnTo>
                <a:lnTo>
                  <a:pt x="13" y="21"/>
                </a:lnTo>
                <a:lnTo>
                  <a:pt x="11" y="20"/>
                </a:lnTo>
                <a:lnTo>
                  <a:pt x="9" y="18"/>
                </a:lnTo>
                <a:lnTo>
                  <a:pt x="7" y="13"/>
                </a:lnTo>
                <a:lnTo>
                  <a:pt x="5" y="10"/>
                </a:lnTo>
                <a:lnTo>
                  <a:pt x="0" y="10"/>
                </a:lnTo>
                <a:lnTo>
                  <a:pt x="0" y="8"/>
                </a:lnTo>
                <a:lnTo>
                  <a:pt x="0" y="6"/>
                </a:lnTo>
                <a:lnTo>
                  <a:pt x="3" y="5"/>
                </a:lnTo>
                <a:lnTo>
                  <a:pt x="4" y="3"/>
                </a:lnTo>
                <a:lnTo>
                  <a:pt x="5" y="1"/>
                </a:lnTo>
                <a:lnTo>
                  <a:pt x="8" y="0"/>
                </a:lnTo>
                <a:lnTo>
                  <a:pt x="11" y="1"/>
                </a:lnTo>
                <a:lnTo>
                  <a:pt x="13" y="0"/>
                </a:lnTo>
                <a:lnTo>
                  <a:pt x="16" y="0"/>
                </a:lnTo>
                <a:lnTo>
                  <a:pt x="19" y="0"/>
                </a:lnTo>
                <a:lnTo>
                  <a:pt x="22" y="1"/>
                </a:lnTo>
                <a:lnTo>
                  <a:pt x="23" y="5"/>
                </a:lnTo>
                <a:lnTo>
                  <a:pt x="24" y="6"/>
                </a:lnTo>
                <a:lnTo>
                  <a:pt x="24" y="9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4" name="Freeform 24"/>
          <p:cNvSpPr>
            <a:spLocks/>
          </p:cNvSpPr>
          <p:nvPr/>
        </p:nvSpPr>
        <p:spPr bwMode="auto">
          <a:xfrm>
            <a:off x="3050732" y="3673474"/>
            <a:ext cx="266700" cy="323850"/>
          </a:xfrm>
          <a:custGeom>
            <a:avLst/>
            <a:gdLst>
              <a:gd name="T0" fmla="*/ 2147483647 w 28"/>
              <a:gd name="T1" fmla="*/ 0 h 34"/>
              <a:gd name="T2" fmla="*/ 2147483647 w 28"/>
              <a:gd name="T3" fmla="*/ 2147483647 h 34"/>
              <a:gd name="T4" fmla="*/ 2147483647 w 28"/>
              <a:gd name="T5" fmla="*/ 2147483647 h 34"/>
              <a:gd name="T6" fmla="*/ 2147483647 w 28"/>
              <a:gd name="T7" fmla="*/ 2147483647 h 34"/>
              <a:gd name="T8" fmla="*/ 2147483647 w 28"/>
              <a:gd name="T9" fmla="*/ 2147483647 h 34"/>
              <a:gd name="T10" fmla="*/ 2147483647 w 28"/>
              <a:gd name="T11" fmla="*/ 2147483647 h 34"/>
              <a:gd name="T12" fmla="*/ 0 w 28"/>
              <a:gd name="T13" fmla="*/ 2147483647 h 34"/>
              <a:gd name="T14" fmla="*/ 0 w 28"/>
              <a:gd name="T15" fmla="*/ 2147483647 h 34"/>
              <a:gd name="T16" fmla="*/ 2147483647 w 28"/>
              <a:gd name="T17" fmla="*/ 2147483647 h 34"/>
              <a:gd name="T18" fmla="*/ 2147483647 w 28"/>
              <a:gd name="T19" fmla="*/ 2147483647 h 34"/>
              <a:gd name="T20" fmla="*/ 2147483647 w 28"/>
              <a:gd name="T21" fmla="*/ 2147483647 h 34"/>
              <a:gd name="T22" fmla="*/ 2147483647 w 28"/>
              <a:gd name="T23" fmla="*/ 2147483647 h 34"/>
              <a:gd name="T24" fmla="*/ 2147483647 w 28"/>
              <a:gd name="T25" fmla="*/ 2147483647 h 34"/>
              <a:gd name="T26" fmla="*/ 2147483647 w 28"/>
              <a:gd name="T27" fmla="*/ 2147483647 h 34"/>
              <a:gd name="T28" fmla="*/ 2147483647 w 28"/>
              <a:gd name="T29" fmla="*/ 2147483647 h 34"/>
              <a:gd name="T30" fmla="*/ 2147483647 w 28"/>
              <a:gd name="T31" fmla="*/ 2147483647 h 34"/>
              <a:gd name="T32" fmla="*/ 2147483647 w 28"/>
              <a:gd name="T33" fmla="*/ 2147483647 h 34"/>
              <a:gd name="T34" fmla="*/ 2147483647 w 28"/>
              <a:gd name="T35" fmla="*/ 2147483647 h 34"/>
              <a:gd name="T36" fmla="*/ 2147483647 w 28"/>
              <a:gd name="T37" fmla="*/ 2147483647 h 34"/>
              <a:gd name="T38" fmla="*/ 2147483647 w 28"/>
              <a:gd name="T39" fmla="*/ 2147483647 h 34"/>
              <a:gd name="T40" fmla="*/ 2147483647 w 28"/>
              <a:gd name="T41" fmla="*/ 2147483647 h 34"/>
              <a:gd name="T42" fmla="*/ 2147483647 w 28"/>
              <a:gd name="T43" fmla="*/ 2147483647 h 34"/>
              <a:gd name="T44" fmla="*/ 2147483647 w 28"/>
              <a:gd name="T45" fmla="*/ 2147483647 h 34"/>
              <a:gd name="T46" fmla="*/ 2147483647 w 28"/>
              <a:gd name="T47" fmla="*/ 2147483647 h 34"/>
              <a:gd name="T48" fmla="*/ 2147483647 w 28"/>
              <a:gd name="T49" fmla="*/ 2147483647 h 34"/>
              <a:gd name="T50" fmla="*/ 2147483647 w 28"/>
              <a:gd name="T51" fmla="*/ 2147483647 h 34"/>
              <a:gd name="T52" fmla="*/ 2147483647 w 28"/>
              <a:gd name="T53" fmla="*/ 2147483647 h 34"/>
              <a:gd name="T54" fmla="*/ 2147483647 w 28"/>
              <a:gd name="T55" fmla="*/ 2147483647 h 34"/>
              <a:gd name="T56" fmla="*/ 2147483647 w 28"/>
              <a:gd name="T57" fmla="*/ 2147483647 h 34"/>
              <a:gd name="T58" fmla="*/ 2147483647 w 28"/>
              <a:gd name="T59" fmla="*/ 2147483647 h 34"/>
              <a:gd name="T60" fmla="*/ 2147483647 w 28"/>
              <a:gd name="T61" fmla="*/ 2147483647 h 34"/>
              <a:gd name="T62" fmla="*/ 2147483647 w 28"/>
              <a:gd name="T63" fmla="*/ 2147483647 h 34"/>
              <a:gd name="T64" fmla="*/ 2147483647 w 28"/>
              <a:gd name="T65" fmla="*/ 2147483647 h 34"/>
              <a:gd name="T66" fmla="*/ 2147483647 w 28"/>
              <a:gd name="T67" fmla="*/ 2147483647 h 34"/>
              <a:gd name="T68" fmla="*/ 2147483647 w 28"/>
              <a:gd name="T69" fmla="*/ 2147483647 h 34"/>
              <a:gd name="T70" fmla="*/ 2147483647 w 28"/>
              <a:gd name="T71" fmla="*/ 2147483647 h 34"/>
              <a:gd name="T72" fmla="*/ 2147483647 w 28"/>
              <a:gd name="T73" fmla="*/ 2147483647 h 34"/>
              <a:gd name="T74" fmla="*/ 2147483647 w 28"/>
              <a:gd name="T75" fmla="*/ 2147483647 h 34"/>
              <a:gd name="T76" fmla="*/ 2147483647 w 28"/>
              <a:gd name="T77" fmla="*/ 2147483647 h 34"/>
              <a:gd name="T78" fmla="*/ 2147483647 w 28"/>
              <a:gd name="T79" fmla="*/ 2147483647 h 34"/>
              <a:gd name="T80" fmla="*/ 2147483647 w 28"/>
              <a:gd name="T81" fmla="*/ 2147483647 h 34"/>
              <a:gd name="T82" fmla="*/ 2147483647 w 28"/>
              <a:gd name="T83" fmla="*/ 2147483647 h 34"/>
              <a:gd name="T84" fmla="*/ 2147483647 w 28"/>
              <a:gd name="T85" fmla="*/ 2147483647 h 34"/>
              <a:gd name="T86" fmla="*/ 2147483647 w 28"/>
              <a:gd name="T87" fmla="*/ 2147483647 h 34"/>
              <a:gd name="T88" fmla="*/ 2147483647 w 28"/>
              <a:gd name="T89" fmla="*/ 2147483647 h 34"/>
              <a:gd name="T90" fmla="*/ 2147483647 w 28"/>
              <a:gd name="T91" fmla="*/ 2147483647 h 34"/>
              <a:gd name="T92" fmla="*/ 2147483647 w 28"/>
              <a:gd name="T93" fmla="*/ 0 h 3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28"/>
              <a:gd name="T142" fmla="*/ 0 h 34"/>
              <a:gd name="T143" fmla="*/ 28 w 28"/>
              <a:gd name="T144" fmla="*/ 34 h 3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28" h="34">
                <a:moveTo>
                  <a:pt x="7" y="0"/>
                </a:moveTo>
                <a:lnTo>
                  <a:pt x="5" y="1"/>
                </a:lnTo>
                <a:lnTo>
                  <a:pt x="3" y="3"/>
                </a:lnTo>
                <a:lnTo>
                  <a:pt x="2" y="7"/>
                </a:lnTo>
                <a:lnTo>
                  <a:pt x="2" y="11"/>
                </a:lnTo>
                <a:lnTo>
                  <a:pt x="2" y="15"/>
                </a:lnTo>
                <a:lnTo>
                  <a:pt x="0" y="15"/>
                </a:lnTo>
                <a:lnTo>
                  <a:pt x="0" y="17"/>
                </a:lnTo>
                <a:lnTo>
                  <a:pt x="2" y="21"/>
                </a:lnTo>
                <a:lnTo>
                  <a:pt x="4" y="23"/>
                </a:lnTo>
                <a:lnTo>
                  <a:pt x="4" y="25"/>
                </a:lnTo>
                <a:lnTo>
                  <a:pt x="8" y="25"/>
                </a:lnTo>
                <a:lnTo>
                  <a:pt x="8" y="27"/>
                </a:lnTo>
                <a:lnTo>
                  <a:pt x="9" y="28"/>
                </a:lnTo>
                <a:lnTo>
                  <a:pt x="9" y="30"/>
                </a:lnTo>
                <a:lnTo>
                  <a:pt x="11" y="29"/>
                </a:lnTo>
                <a:lnTo>
                  <a:pt x="13" y="30"/>
                </a:lnTo>
                <a:lnTo>
                  <a:pt x="13" y="31"/>
                </a:lnTo>
                <a:lnTo>
                  <a:pt x="14" y="33"/>
                </a:lnTo>
                <a:lnTo>
                  <a:pt x="18" y="33"/>
                </a:lnTo>
                <a:lnTo>
                  <a:pt x="20" y="33"/>
                </a:lnTo>
                <a:lnTo>
                  <a:pt x="22" y="34"/>
                </a:lnTo>
                <a:lnTo>
                  <a:pt x="25" y="33"/>
                </a:lnTo>
                <a:lnTo>
                  <a:pt x="26" y="30"/>
                </a:lnTo>
                <a:lnTo>
                  <a:pt x="27" y="29"/>
                </a:lnTo>
                <a:lnTo>
                  <a:pt x="27" y="27"/>
                </a:lnTo>
                <a:lnTo>
                  <a:pt x="27" y="25"/>
                </a:lnTo>
                <a:lnTo>
                  <a:pt x="28" y="24"/>
                </a:lnTo>
                <a:lnTo>
                  <a:pt x="27" y="20"/>
                </a:lnTo>
                <a:lnTo>
                  <a:pt x="27" y="17"/>
                </a:lnTo>
                <a:lnTo>
                  <a:pt x="25" y="17"/>
                </a:lnTo>
                <a:lnTo>
                  <a:pt x="24" y="15"/>
                </a:lnTo>
                <a:lnTo>
                  <a:pt x="23" y="14"/>
                </a:lnTo>
                <a:lnTo>
                  <a:pt x="21" y="14"/>
                </a:lnTo>
                <a:lnTo>
                  <a:pt x="19" y="13"/>
                </a:lnTo>
                <a:lnTo>
                  <a:pt x="19" y="14"/>
                </a:lnTo>
                <a:lnTo>
                  <a:pt x="17" y="14"/>
                </a:lnTo>
                <a:lnTo>
                  <a:pt x="17" y="12"/>
                </a:lnTo>
                <a:lnTo>
                  <a:pt x="16" y="11"/>
                </a:lnTo>
                <a:lnTo>
                  <a:pt x="16" y="9"/>
                </a:lnTo>
                <a:lnTo>
                  <a:pt x="16" y="7"/>
                </a:lnTo>
                <a:lnTo>
                  <a:pt x="15" y="6"/>
                </a:lnTo>
                <a:lnTo>
                  <a:pt x="12" y="6"/>
                </a:lnTo>
                <a:lnTo>
                  <a:pt x="10" y="4"/>
                </a:lnTo>
                <a:lnTo>
                  <a:pt x="10" y="2"/>
                </a:lnTo>
                <a:lnTo>
                  <a:pt x="8" y="1"/>
                </a:lnTo>
                <a:lnTo>
                  <a:pt x="7" y="0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5" name="Freeform 25"/>
          <p:cNvSpPr>
            <a:spLocks/>
          </p:cNvSpPr>
          <p:nvPr/>
        </p:nvSpPr>
        <p:spPr bwMode="auto">
          <a:xfrm>
            <a:off x="2936432" y="3435349"/>
            <a:ext cx="285750" cy="257175"/>
          </a:xfrm>
          <a:custGeom>
            <a:avLst/>
            <a:gdLst>
              <a:gd name="T0" fmla="*/ 2147483647 w 30"/>
              <a:gd name="T1" fmla="*/ 2147483647 h 27"/>
              <a:gd name="T2" fmla="*/ 2147483647 w 30"/>
              <a:gd name="T3" fmla="*/ 2147483647 h 27"/>
              <a:gd name="T4" fmla="*/ 2147483647 w 30"/>
              <a:gd name="T5" fmla="*/ 2147483647 h 27"/>
              <a:gd name="T6" fmla="*/ 2147483647 w 30"/>
              <a:gd name="T7" fmla="*/ 2147483647 h 27"/>
              <a:gd name="T8" fmla="*/ 2147483647 w 30"/>
              <a:gd name="T9" fmla="*/ 2147483647 h 27"/>
              <a:gd name="T10" fmla="*/ 2147483647 w 30"/>
              <a:gd name="T11" fmla="*/ 2147483647 h 27"/>
              <a:gd name="T12" fmla="*/ 2147483647 w 30"/>
              <a:gd name="T13" fmla="*/ 2147483647 h 27"/>
              <a:gd name="T14" fmla="*/ 2147483647 w 30"/>
              <a:gd name="T15" fmla="*/ 2147483647 h 27"/>
              <a:gd name="T16" fmla="*/ 2147483647 w 30"/>
              <a:gd name="T17" fmla="*/ 2147483647 h 27"/>
              <a:gd name="T18" fmla="*/ 2147483647 w 30"/>
              <a:gd name="T19" fmla="*/ 2147483647 h 27"/>
              <a:gd name="T20" fmla="*/ 2147483647 w 30"/>
              <a:gd name="T21" fmla="*/ 2147483647 h 27"/>
              <a:gd name="T22" fmla="*/ 2147483647 w 30"/>
              <a:gd name="T23" fmla="*/ 2147483647 h 27"/>
              <a:gd name="T24" fmla="*/ 2147483647 w 30"/>
              <a:gd name="T25" fmla="*/ 2147483647 h 27"/>
              <a:gd name="T26" fmla="*/ 0 w 30"/>
              <a:gd name="T27" fmla="*/ 2147483647 h 27"/>
              <a:gd name="T28" fmla="*/ 2147483647 w 30"/>
              <a:gd name="T29" fmla="*/ 2147483647 h 27"/>
              <a:gd name="T30" fmla="*/ 2147483647 w 30"/>
              <a:gd name="T31" fmla="*/ 2147483647 h 27"/>
              <a:gd name="T32" fmla="*/ 2147483647 w 30"/>
              <a:gd name="T33" fmla="*/ 2147483647 h 27"/>
              <a:gd name="T34" fmla="*/ 2147483647 w 30"/>
              <a:gd name="T35" fmla="*/ 0 h 27"/>
              <a:gd name="T36" fmla="*/ 2147483647 w 30"/>
              <a:gd name="T37" fmla="*/ 2147483647 h 27"/>
              <a:gd name="T38" fmla="*/ 2147483647 w 30"/>
              <a:gd name="T39" fmla="*/ 2147483647 h 27"/>
              <a:gd name="T40" fmla="*/ 2147483647 w 30"/>
              <a:gd name="T41" fmla="*/ 2147483647 h 27"/>
              <a:gd name="T42" fmla="*/ 2147483647 w 30"/>
              <a:gd name="T43" fmla="*/ 2147483647 h 27"/>
              <a:gd name="T44" fmla="*/ 2147483647 w 30"/>
              <a:gd name="T45" fmla="*/ 2147483647 h 27"/>
              <a:gd name="T46" fmla="*/ 2147483647 w 30"/>
              <a:gd name="T47" fmla="*/ 2147483647 h 27"/>
              <a:gd name="T48" fmla="*/ 2147483647 w 30"/>
              <a:gd name="T49" fmla="*/ 2147483647 h 27"/>
              <a:gd name="T50" fmla="*/ 2147483647 w 30"/>
              <a:gd name="T51" fmla="*/ 2147483647 h 27"/>
              <a:gd name="T52" fmla="*/ 2147483647 w 30"/>
              <a:gd name="T53" fmla="*/ 2147483647 h 27"/>
              <a:gd name="T54" fmla="*/ 2147483647 w 30"/>
              <a:gd name="T55" fmla="*/ 2147483647 h 27"/>
              <a:gd name="T56" fmla="*/ 2147483647 w 30"/>
              <a:gd name="T57" fmla="*/ 2147483647 h 27"/>
              <a:gd name="T58" fmla="*/ 2147483647 w 30"/>
              <a:gd name="T59" fmla="*/ 2147483647 h 27"/>
              <a:gd name="T60" fmla="*/ 2147483647 w 30"/>
              <a:gd name="T61" fmla="*/ 2147483647 h 27"/>
              <a:gd name="T62" fmla="*/ 2147483647 w 30"/>
              <a:gd name="T63" fmla="*/ 2147483647 h 27"/>
              <a:gd name="T64" fmla="*/ 2147483647 w 30"/>
              <a:gd name="T65" fmla="*/ 2147483647 h 27"/>
              <a:gd name="T66" fmla="*/ 2147483647 w 30"/>
              <a:gd name="T67" fmla="*/ 2147483647 h 27"/>
              <a:gd name="T68" fmla="*/ 2147483647 w 30"/>
              <a:gd name="T69" fmla="*/ 2147483647 h 2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0"/>
              <a:gd name="T106" fmla="*/ 0 h 27"/>
              <a:gd name="T107" fmla="*/ 30 w 30"/>
              <a:gd name="T108" fmla="*/ 27 h 27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0" h="27">
                <a:moveTo>
                  <a:pt x="22" y="27"/>
                </a:moveTo>
                <a:lnTo>
                  <a:pt x="20" y="26"/>
                </a:lnTo>
                <a:lnTo>
                  <a:pt x="19" y="25"/>
                </a:lnTo>
                <a:lnTo>
                  <a:pt x="16" y="23"/>
                </a:lnTo>
                <a:lnTo>
                  <a:pt x="13" y="24"/>
                </a:lnTo>
                <a:lnTo>
                  <a:pt x="10" y="23"/>
                </a:lnTo>
                <a:lnTo>
                  <a:pt x="10" y="21"/>
                </a:lnTo>
                <a:lnTo>
                  <a:pt x="8" y="21"/>
                </a:lnTo>
                <a:lnTo>
                  <a:pt x="8" y="20"/>
                </a:lnTo>
                <a:lnTo>
                  <a:pt x="5" y="20"/>
                </a:lnTo>
                <a:lnTo>
                  <a:pt x="5" y="17"/>
                </a:lnTo>
                <a:lnTo>
                  <a:pt x="4" y="16"/>
                </a:lnTo>
                <a:lnTo>
                  <a:pt x="3" y="12"/>
                </a:lnTo>
                <a:lnTo>
                  <a:pt x="0" y="11"/>
                </a:lnTo>
                <a:lnTo>
                  <a:pt x="3" y="7"/>
                </a:lnTo>
                <a:lnTo>
                  <a:pt x="5" y="5"/>
                </a:lnTo>
                <a:lnTo>
                  <a:pt x="6" y="2"/>
                </a:lnTo>
                <a:lnTo>
                  <a:pt x="8" y="0"/>
                </a:lnTo>
                <a:lnTo>
                  <a:pt x="10" y="2"/>
                </a:lnTo>
                <a:lnTo>
                  <a:pt x="12" y="4"/>
                </a:lnTo>
                <a:lnTo>
                  <a:pt x="15" y="3"/>
                </a:lnTo>
                <a:lnTo>
                  <a:pt x="17" y="3"/>
                </a:lnTo>
                <a:lnTo>
                  <a:pt x="19" y="6"/>
                </a:lnTo>
                <a:lnTo>
                  <a:pt x="21" y="5"/>
                </a:lnTo>
                <a:lnTo>
                  <a:pt x="24" y="3"/>
                </a:lnTo>
                <a:lnTo>
                  <a:pt x="26" y="7"/>
                </a:lnTo>
                <a:lnTo>
                  <a:pt x="28" y="10"/>
                </a:lnTo>
                <a:lnTo>
                  <a:pt x="28" y="13"/>
                </a:lnTo>
                <a:lnTo>
                  <a:pt x="30" y="16"/>
                </a:lnTo>
                <a:lnTo>
                  <a:pt x="30" y="18"/>
                </a:lnTo>
                <a:lnTo>
                  <a:pt x="28" y="20"/>
                </a:lnTo>
                <a:lnTo>
                  <a:pt x="26" y="22"/>
                </a:lnTo>
                <a:lnTo>
                  <a:pt x="24" y="24"/>
                </a:lnTo>
                <a:lnTo>
                  <a:pt x="22" y="25"/>
                </a:lnTo>
                <a:lnTo>
                  <a:pt x="22" y="27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6" name="Freeform 26"/>
          <p:cNvSpPr>
            <a:spLocks/>
          </p:cNvSpPr>
          <p:nvPr/>
        </p:nvSpPr>
        <p:spPr bwMode="auto">
          <a:xfrm>
            <a:off x="2669732" y="3349624"/>
            <a:ext cx="180975" cy="247650"/>
          </a:xfrm>
          <a:custGeom>
            <a:avLst/>
            <a:gdLst>
              <a:gd name="T0" fmla="*/ 2147483647 w 19"/>
              <a:gd name="T1" fmla="*/ 2147483647 h 26"/>
              <a:gd name="T2" fmla="*/ 2147483647 w 19"/>
              <a:gd name="T3" fmla="*/ 2147483647 h 26"/>
              <a:gd name="T4" fmla="*/ 2147483647 w 19"/>
              <a:gd name="T5" fmla="*/ 2147483647 h 26"/>
              <a:gd name="T6" fmla="*/ 2147483647 w 19"/>
              <a:gd name="T7" fmla="*/ 2147483647 h 26"/>
              <a:gd name="T8" fmla="*/ 2147483647 w 19"/>
              <a:gd name="T9" fmla="*/ 2147483647 h 26"/>
              <a:gd name="T10" fmla="*/ 2147483647 w 19"/>
              <a:gd name="T11" fmla="*/ 2147483647 h 26"/>
              <a:gd name="T12" fmla="*/ 2147483647 w 19"/>
              <a:gd name="T13" fmla="*/ 2147483647 h 26"/>
              <a:gd name="T14" fmla="*/ 2147483647 w 19"/>
              <a:gd name="T15" fmla="*/ 2147483647 h 26"/>
              <a:gd name="T16" fmla="*/ 2147483647 w 19"/>
              <a:gd name="T17" fmla="*/ 2147483647 h 26"/>
              <a:gd name="T18" fmla="*/ 2147483647 w 19"/>
              <a:gd name="T19" fmla="*/ 2147483647 h 26"/>
              <a:gd name="T20" fmla="*/ 2147483647 w 19"/>
              <a:gd name="T21" fmla="*/ 2147483647 h 26"/>
              <a:gd name="T22" fmla="*/ 2147483647 w 19"/>
              <a:gd name="T23" fmla="*/ 2147483647 h 26"/>
              <a:gd name="T24" fmla="*/ 2147483647 w 19"/>
              <a:gd name="T25" fmla="*/ 2147483647 h 26"/>
              <a:gd name="T26" fmla="*/ 0 w 19"/>
              <a:gd name="T27" fmla="*/ 2147483647 h 26"/>
              <a:gd name="T28" fmla="*/ 2147483647 w 19"/>
              <a:gd name="T29" fmla="*/ 2147483647 h 26"/>
              <a:gd name="T30" fmla="*/ 2147483647 w 19"/>
              <a:gd name="T31" fmla="*/ 2147483647 h 26"/>
              <a:gd name="T32" fmla="*/ 2147483647 w 19"/>
              <a:gd name="T33" fmla="*/ 0 h 26"/>
              <a:gd name="T34" fmla="*/ 2147483647 w 19"/>
              <a:gd name="T35" fmla="*/ 0 h 26"/>
              <a:gd name="T36" fmla="*/ 2147483647 w 19"/>
              <a:gd name="T37" fmla="*/ 2147483647 h 26"/>
              <a:gd name="T38" fmla="*/ 2147483647 w 19"/>
              <a:gd name="T39" fmla="*/ 2147483647 h 26"/>
              <a:gd name="T40" fmla="*/ 2147483647 w 19"/>
              <a:gd name="T41" fmla="*/ 2147483647 h 26"/>
              <a:gd name="T42" fmla="*/ 2147483647 w 19"/>
              <a:gd name="T43" fmla="*/ 2147483647 h 26"/>
              <a:gd name="T44" fmla="*/ 2147483647 w 19"/>
              <a:gd name="T45" fmla="*/ 2147483647 h 26"/>
              <a:gd name="T46" fmla="*/ 2147483647 w 19"/>
              <a:gd name="T47" fmla="*/ 2147483647 h 26"/>
              <a:gd name="T48" fmla="*/ 2147483647 w 19"/>
              <a:gd name="T49" fmla="*/ 2147483647 h 26"/>
              <a:gd name="T50" fmla="*/ 2147483647 w 19"/>
              <a:gd name="T51" fmla="*/ 2147483647 h 26"/>
              <a:gd name="T52" fmla="*/ 2147483647 w 19"/>
              <a:gd name="T53" fmla="*/ 2147483647 h 2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9"/>
              <a:gd name="T82" fmla="*/ 0 h 26"/>
              <a:gd name="T83" fmla="*/ 19 w 19"/>
              <a:gd name="T84" fmla="*/ 26 h 2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9" h="26">
                <a:moveTo>
                  <a:pt x="17" y="20"/>
                </a:moveTo>
                <a:lnTo>
                  <a:pt x="14" y="21"/>
                </a:lnTo>
                <a:lnTo>
                  <a:pt x="13" y="23"/>
                </a:lnTo>
                <a:lnTo>
                  <a:pt x="12" y="25"/>
                </a:lnTo>
                <a:lnTo>
                  <a:pt x="9" y="26"/>
                </a:lnTo>
                <a:lnTo>
                  <a:pt x="7" y="24"/>
                </a:lnTo>
                <a:lnTo>
                  <a:pt x="7" y="22"/>
                </a:lnTo>
                <a:lnTo>
                  <a:pt x="5" y="20"/>
                </a:lnTo>
                <a:lnTo>
                  <a:pt x="5" y="19"/>
                </a:lnTo>
                <a:lnTo>
                  <a:pt x="5" y="16"/>
                </a:lnTo>
                <a:lnTo>
                  <a:pt x="5" y="12"/>
                </a:lnTo>
                <a:lnTo>
                  <a:pt x="2" y="11"/>
                </a:lnTo>
                <a:lnTo>
                  <a:pt x="1" y="9"/>
                </a:lnTo>
                <a:lnTo>
                  <a:pt x="0" y="6"/>
                </a:lnTo>
                <a:lnTo>
                  <a:pt x="3" y="3"/>
                </a:lnTo>
                <a:lnTo>
                  <a:pt x="5" y="2"/>
                </a:lnTo>
                <a:lnTo>
                  <a:pt x="8" y="0"/>
                </a:lnTo>
                <a:lnTo>
                  <a:pt x="10" y="0"/>
                </a:lnTo>
                <a:lnTo>
                  <a:pt x="12" y="2"/>
                </a:lnTo>
                <a:lnTo>
                  <a:pt x="14" y="3"/>
                </a:lnTo>
                <a:lnTo>
                  <a:pt x="17" y="3"/>
                </a:lnTo>
                <a:lnTo>
                  <a:pt x="17" y="6"/>
                </a:lnTo>
                <a:lnTo>
                  <a:pt x="16" y="9"/>
                </a:lnTo>
                <a:lnTo>
                  <a:pt x="18" y="12"/>
                </a:lnTo>
                <a:lnTo>
                  <a:pt x="19" y="15"/>
                </a:lnTo>
                <a:lnTo>
                  <a:pt x="19" y="18"/>
                </a:lnTo>
                <a:lnTo>
                  <a:pt x="17" y="20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7" name="Freeform 27"/>
          <p:cNvSpPr>
            <a:spLocks/>
          </p:cNvSpPr>
          <p:nvPr/>
        </p:nvSpPr>
        <p:spPr bwMode="auto">
          <a:xfrm>
            <a:off x="2822132" y="3359149"/>
            <a:ext cx="190500" cy="190500"/>
          </a:xfrm>
          <a:custGeom>
            <a:avLst/>
            <a:gdLst>
              <a:gd name="T0" fmla="*/ 2147483647 w 20"/>
              <a:gd name="T1" fmla="*/ 2147483647 h 20"/>
              <a:gd name="T2" fmla="*/ 2147483647 w 20"/>
              <a:gd name="T3" fmla="*/ 2147483647 h 20"/>
              <a:gd name="T4" fmla="*/ 2147483647 w 20"/>
              <a:gd name="T5" fmla="*/ 2147483647 h 20"/>
              <a:gd name="T6" fmla="*/ 2147483647 w 20"/>
              <a:gd name="T7" fmla="*/ 2147483647 h 20"/>
              <a:gd name="T8" fmla="*/ 2147483647 w 20"/>
              <a:gd name="T9" fmla="*/ 2147483647 h 20"/>
              <a:gd name="T10" fmla="*/ 2147483647 w 20"/>
              <a:gd name="T11" fmla="*/ 2147483647 h 20"/>
              <a:gd name="T12" fmla="*/ 2147483647 w 20"/>
              <a:gd name="T13" fmla="*/ 2147483647 h 20"/>
              <a:gd name="T14" fmla="*/ 2147483647 w 20"/>
              <a:gd name="T15" fmla="*/ 2147483647 h 20"/>
              <a:gd name="T16" fmla="*/ 2147483647 w 20"/>
              <a:gd name="T17" fmla="*/ 2147483647 h 20"/>
              <a:gd name="T18" fmla="*/ 2147483647 w 20"/>
              <a:gd name="T19" fmla="*/ 2147483647 h 20"/>
              <a:gd name="T20" fmla="*/ 2147483647 w 20"/>
              <a:gd name="T21" fmla="*/ 2147483647 h 20"/>
              <a:gd name="T22" fmla="*/ 2147483647 w 20"/>
              <a:gd name="T23" fmla="*/ 2147483647 h 20"/>
              <a:gd name="T24" fmla="*/ 0 w 20"/>
              <a:gd name="T25" fmla="*/ 2147483647 h 20"/>
              <a:gd name="T26" fmla="*/ 2147483647 w 20"/>
              <a:gd name="T27" fmla="*/ 2147483647 h 20"/>
              <a:gd name="T28" fmla="*/ 2147483647 w 20"/>
              <a:gd name="T29" fmla="*/ 2147483647 h 20"/>
              <a:gd name="T30" fmla="*/ 2147483647 w 20"/>
              <a:gd name="T31" fmla="*/ 0 h 20"/>
              <a:gd name="T32" fmla="*/ 2147483647 w 20"/>
              <a:gd name="T33" fmla="*/ 0 h 20"/>
              <a:gd name="T34" fmla="*/ 2147483647 w 20"/>
              <a:gd name="T35" fmla="*/ 0 h 20"/>
              <a:gd name="T36" fmla="*/ 2147483647 w 20"/>
              <a:gd name="T37" fmla="*/ 2147483647 h 20"/>
              <a:gd name="T38" fmla="*/ 2147483647 w 20"/>
              <a:gd name="T39" fmla="*/ 2147483647 h 20"/>
              <a:gd name="T40" fmla="*/ 2147483647 w 20"/>
              <a:gd name="T41" fmla="*/ 2147483647 h 20"/>
              <a:gd name="T42" fmla="*/ 2147483647 w 20"/>
              <a:gd name="T43" fmla="*/ 2147483647 h 20"/>
              <a:gd name="T44" fmla="*/ 2147483647 w 20"/>
              <a:gd name="T45" fmla="*/ 2147483647 h 20"/>
              <a:gd name="T46" fmla="*/ 2147483647 w 20"/>
              <a:gd name="T47" fmla="*/ 2147483647 h 20"/>
              <a:gd name="T48" fmla="*/ 2147483647 w 20"/>
              <a:gd name="T49" fmla="*/ 2147483647 h 20"/>
              <a:gd name="T50" fmla="*/ 2147483647 w 20"/>
              <a:gd name="T51" fmla="*/ 2147483647 h 20"/>
              <a:gd name="T52" fmla="*/ 2147483647 w 20"/>
              <a:gd name="T53" fmla="*/ 2147483647 h 20"/>
              <a:gd name="T54" fmla="*/ 2147483647 w 20"/>
              <a:gd name="T55" fmla="*/ 2147483647 h 20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20"/>
              <a:gd name="T85" fmla="*/ 0 h 20"/>
              <a:gd name="T86" fmla="*/ 20 w 20"/>
              <a:gd name="T87" fmla="*/ 20 h 20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20" h="20">
                <a:moveTo>
                  <a:pt x="20" y="8"/>
                </a:moveTo>
                <a:lnTo>
                  <a:pt x="18" y="10"/>
                </a:lnTo>
                <a:lnTo>
                  <a:pt x="17" y="13"/>
                </a:lnTo>
                <a:lnTo>
                  <a:pt x="15" y="15"/>
                </a:lnTo>
                <a:lnTo>
                  <a:pt x="12" y="19"/>
                </a:lnTo>
                <a:lnTo>
                  <a:pt x="9" y="19"/>
                </a:lnTo>
                <a:lnTo>
                  <a:pt x="6" y="19"/>
                </a:lnTo>
                <a:lnTo>
                  <a:pt x="4" y="20"/>
                </a:lnTo>
                <a:lnTo>
                  <a:pt x="1" y="19"/>
                </a:lnTo>
                <a:lnTo>
                  <a:pt x="3" y="17"/>
                </a:lnTo>
                <a:lnTo>
                  <a:pt x="3" y="14"/>
                </a:lnTo>
                <a:lnTo>
                  <a:pt x="2" y="11"/>
                </a:lnTo>
                <a:lnTo>
                  <a:pt x="0" y="8"/>
                </a:lnTo>
                <a:lnTo>
                  <a:pt x="1" y="5"/>
                </a:lnTo>
                <a:lnTo>
                  <a:pt x="1" y="2"/>
                </a:lnTo>
                <a:lnTo>
                  <a:pt x="2" y="0"/>
                </a:lnTo>
                <a:lnTo>
                  <a:pt x="4" y="0"/>
                </a:lnTo>
                <a:lnTo>
                  <a:pt x="6" y="0"/>
                </a:lnTo>
                <a:lnTo>
                  <a:pt x="8" y="3"/>
                </a:lnTo>
                <a:lnTo>
                  <a:pt x="10" y="3"/>
                </a:lnTo>
                <a:lnTo>
                  <a:pt x="12" y="2"/>
                </a:lnTo>
                <a:lnTo>
                  <a:pt x="12" y="1"/>
                </a:lnTo>
                <a:lnTo>
                  <a:pt x="14" y="1"/>
                </a:lnTo>
                <a:lnTo>
                  <a:pt x="16" y="1"/>
                </a:lnTo>
                <a:lnTo>
                  <a:pt x="17" y="4"/>
                </a:lnTo>
                <a:lnTo>
                  <a:pt x="19" y="4"/>
                </a:lnTo>
                <a:lnTo>
                  <a:pt x="19" y="7"/>
                </a:lnTo>
                <a:lnTo>
                  <a:pt x="20" y="8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8" name="Freeform 28"/>
          <p:cNvSpPr>
            <a:spLocks/>
          </p:cNvSpPr>
          <p:nvPr/>
        </p:nvSpPr>
        <p:spPr bwMode="auto">
          <a:xfrm>
            <a:off x="2498282" y="3159124"/>
            <a:ext cx="247650" cy="257175"/>
          </a:xfrm>
          <a:custGeom>
            <a:avLst/>
            <a:gdLst>
              <a:gd name="T0" fmla="*/ 2147483647 w 26"/>
              <a:gd name="T1" fmla="*/ 2147483647 h 27"/>
              <a:gd name="T2" fmla="*/ 2147483647 w 26"/>
              <a:gd name="T3" fmla="*/ 2147483647 h 27"/>
              <a:gd name="T4" fmla="*/ 2147483647 w 26"/>
              <a:gd name="T5" fmla="*/ 2147483647 h 27"/>
              <a:gd name="T6" fmla="*/ 2147483647 w 26"/>
              <a:gd name="T7" fmla="*/ 2147483647 h 27"/>
              <a:gd name="T8" fmla="*/ 2147483647 w 26"/>
              <a:gd name="T9" fmla="*/ 2147483647 h 27"/>
              <a:gd name="T10" fmla="*/ 2147483647 w 26"/>
              <a:gd name="T11" fmla="*/ 2147483647 h 27"/>
              <a:gd name="T12" fmla="*/ 2147483647 w 26"/>
              <a:gd name="T13" fmla="*/ 2147483647 h 27"/>
              <a:gd name="T14" fmla="*/ 2147483647 w 26"/>
              <a:gd name="T15" fmla="*/ 2147483647 h 27"/>
              <a:gd name="T16" fmla="*/ 2147483647 w 26"/>
              <a:gd name="T17" fmla="*/ 2147483647 h 27"/>
              <a:gd name="T18" fmla="*/ 2147483647 w 26"/>
              <a:gd name="T19" fmla="*/ 2147483647 h 27"/>
              <a:gd name="T20" fmla="*/ 2147483647 w 26"/>
              <a:gd name="T21" fmla="*/ 2147483647 h 27"/>
              <a:gd name="T22" fmla="*/ 2147483647 w 26"/>
              <a:gd name="T23" fmla="*/ 2147483647 h 27"/>
              <a:gd name="T24" fmla="*/ 2147483647 w 26"/>
              <a:gd name="T25" fmla="*/ 2147483647 h 27"/>
              <a:gd name="T26" fmla="*/ 2147483647 w 26"/>
              <a:gd name="T27" fmla="*/ 2147483647 h 27"/>
              <a:gd name="T28" fmla="*/ 2147483647 w 26"/>
              <a:gd name="T29" fmla="*/ 2147483647 h 27"/>
              <a:gd name="T30" fmla="*/ 2147483647 w 26"/>
              <a:gd name="T31" fmla="*/ 2147483647 h 27"/>
              <a:gd name="T32" fmla="*/ 2147483647 w 26"/>
              <a:gd name="T33" fmla="*/ 2147483647 h 27"/>
              <a:gd name="T34" fmla="*/ 2147483647 w 26"/>
              <a:gd name="T35" fmla="*/ 2147483647 h 27"/>
              <a:gd name="T36" fmla="*/ 2147483647 w 26"/>
              <a:gd name="T37" fmla="*/ 2147483647 h 27"/>
              <a:gd name="T38" fmla="*/ 0 w 26"/>
              <a:gd name="T39" fmla="*/ 2147483647 h 27"/>
              <a:gd name="T40" fmla="*/ 0 w 26"/>
              <a:gd name="T41" fmla="*/ 2147483647 h 27"/>
              <a:gd name="T42" fmla="*/ 2147483647 w 26"/>
              <a:gd name="T43" fmla="*/ 2147483647 h 27"/>
              <a:gd name="T44" fmla="*/ 2147483647 w 26"/>
              <a:gd name="T45" fmla="*/ 2147483647 h 27"/>
              <a:gd name="T46" fmla="*/ 2147483647 w 26"/>
              <a:gd name="T47" fmla="*/ 2147483647 h 27"/>
              <a:gd name="T48" fmla="*/ 2147483647 w 26"/>
              <a:gd name="T49" fmla="*/ 2147483647 h 27"/>
              <a:gd name="T50" fmla="*/ 2147483647 w 26"/>
              <a:gd name="T51" fmla="*/ 2147483647 h 27"/>
              <a:gd name="T52" fmla="*/ 2147483647 w 26"/>
              <a:gd name="T53" fmla="*/ 0 h 27"/>
              <a:gd name="T54" fmla="*/ 2147483647 w 26"/>
              <a:gd name="T55" fmla="*/ 0 h 27"/>
              <a:gd name="T56" fmla="*/ 2147483647 w 26"/>
              <a:gd name="T57" fmla="*/ 2147483647 h 27"/>
              <a:gd name="T58" fmla="*/ 2147483647 w 26"/>
              <a:gd name="T59" fmla="*/ 2147483647 h 27"/>
              <a:gd name="T60" fmla="*/ 2147483647 w 26"/>
              <a:gd name="T61" fmla="*/ 2147483647 h 27"/>
              <a:gd name="T62" fmla="*/ 2147483647 w 26"/>
              <a:gd name="T63" fmla="*/ 2147483647 h 27"/>
              <a:gd name="T64" fmla="*/ 2147483647 w 26"/>
              <a:gd name="T65" fmla="*/ 2147483647 h 27"/>
              <a:gd name="T66" fmla="*/ 2147483647 w 26"/>
              <a:gd name="T67" fmla="*/ 2147483647 h 27"/>
              <a:gd name="T68" fmla="*/ 2147483647 w 26"/>
              <a:gd name="T69" fmla="*/ 2147483647 h 27"/>
              <a:gd name="T70" fmla="*/ 2147483647 w 26"/>
              <a:gd name="T71" fmla="*/ 2147483647 h 27"/>
              <a:gd name="T72" fmla="*/ 2147483647 w 26"/>
              <a:gd name="T73" fmla="*/ 2147483647 h 27"/>
              <a:gd name="T74" fmla="*/ 2147483647 w 26"/>
              <a:gd name="T75" fmla="*/ 2147483647 h 27"/>
              <a:gd name="T76" fmla="*/ 2147483647 w 26"/>
              <a:gd name="T77" fmla="*/ 2147483647 h 27"/>
              <a:gd name="T78" fmla="*/ 2147483647 w 26"/>
              <a:gd name="T79" fmla="*/ 2147483647 h 27"/>
              <a:gd name="T80" fmla="*/ 2147483647 w 26"/>
              <a:gd name="T81" fmla="*/ 2147483647 h 27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6"/>
              <a:gd name="T124" fmla="*/ 0 h 27"/>
              <a:gd name="T125" fmla="*/ 26 w 26"/>
              <a:gd name="T126" fmla="*/ 27 h 27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6" h="27">
                <a:moveTo>
                  <a:pt x="26" y="20"/>
                </a:moveTo>
                <a:lnTo>
                  <a:pt x="23" y="22"/>
                </a:lnTo>
                <a:lnTo>
                  <a:pt x="21" y="23"/>
                </a:lnTo>
                <a:lnTo>
                  <a:pt x="18" y="26"/>
                </a:lnTo>
                <a:lnTo>
                  <a:pt x="14" y="26"/>
                </a:lnTo>
                <a:lnTo>
                  <a:pt x="11" y="26"/>
                </a:lnTo>
                <a:lnTo>
                  <a:pt x="9" y="27"/>
                </a:lnTo>
                <a:lnTo>
                  <a:pt x="9" y="24"/>
                </a:lnTo>
                <a:lnTo>
                  <a:pt x="11" y="23"/>
                </a:lnTo>
                <a:lnTo>
                  <a:pt x="12" y="21"/>
                </a:lnTo>
                <a:lnTo>
                  <a:pt x="12" y="18"/>
                </a:lnTo>
                <a:lnTo>
                  <a:pt x="10" y="17"/>
                </a:lnTo>
                <a:lnTo>
                  <a:pt x="9" y="19"/>
                </a:lnTo>
                <a:lnTo>
                  <a:pt x="8" y="20"/>
                </a:lnTo>
                <a:lnTo>
                  <a:pt x="6" y="19"/>
                </a:lnTo>
                <a:lnTo>
                  <a:pt x="6" y="16"/>
                </a:lnTo>
                <a:lnTo>
                  <a:pt x="6" y="13"/>
                </a:lnTo>
                <a:lnTo>
                  <a:pt x="3" y="13"/>
                </a:lnTo>
                <a:lnTo>
                  <a:pt x="1" y="13"/>
                </a:lnTo>
                <a:lnTo>
                  <a:pt x="0" y="11"/>
                </a:lnTo>
                <a:lnTo>
                  <a:pt x="0" y="9"/>
                </a:lnTo>
                <a:lnTo>
                  <a:pt x="2" y="8"/>
                </a:lnTo>
                <a:lnTo>
                  <a:pt x="4" y="6"/>
                </a:lnTo>
                <a:lnTo>
                  <a:pt x="5" y="4"/>
                </a:lnTo>
                <a:lnTo>
                  <a:pt x="7" y="3"/>
                </a:lnTo>
                <a:lnTo>
                  <a:pt x="7" y="1"/>
                </a:lnTo>
                <a:lnTo>
                  <a:pt x="7" y="0"/>
                </a:lnTo>
                <a:lnTo>
                  <a:pt x="10" y="0"/>
                </a:lnTo>
                <a:lnTo>
                  <a:pt x="10" y="2"/>
                </a:lnTo>
                <a:lnTo>
                  <a:pt x="10" y="4"/>
                </a:lnTo>
                <a:lnTo>
                  <a:pt x="12" y="7"/>
                </a:lnTo>
                <a:lnTo>
                  <a:pt x="14" y="7"/>
                </a:lnTo>
                <a:lnTo>
                  <a:pt x="17" y="6"/>
                </a:lnTo>
                <a:lnTo>
                  <a:pt x="21" y="6"/>
                </a:lnTo>
                <a:lnTo>
                  <a:pt x="22" y="8"/>
                </a:lnTo>
                <a:lnTo>
                  <a:pt x="22" y="10"/>
                </a:lnTo>
                <a:lnTo>
                  <a:pt x="22" y="12"/>
                </a:lnTo>
                <a:lnTo>
                  <a:pt x="25" y="13"/>
                </a:lnTo>
                <a:lnTo>
                  <a:pt x="25" y="17"/>
                </a:lnTo>
                <a:lnTo>
                  <a:pt x="24" y="18"/>
                </a:lnTo>
                <a:lnTo>
                  <a:pt x="26" y="20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9" name="Freeform 29"/>
          <p:cNvSpPr>
            <a:spLocks/>
          </p:cNvSpPr>
          <p:nvPr/>
        </p:nvSpPr>
        <p:spPr bwMode="auto">
          <a:xfrm>
            <a:off x="2660207" y="2968624"/>
            <a:ext cx="352425" cy="276225"/>
          </a:xfrm>
          <a:custGeom>
            <a:avLst/>
            <a:gdLst>
              <a:gd name="T0" fmla="*/ 2147483647 w 37"/>
              <a:gd name="T1" fmla="*/ 2147483647 h 29"/>
              <a:gd name="T2" fmla="*/ 2147483647 w 37"/>
              <a:gd name="T3" fmla="*/ 2147483647 h 29"/>
              <a:gd name="T4" fmla="*/ 0 w 37"/>
              <a:gd name="T5" fmla="*/ 2147483647 h 29"/>
              <a:gd name="T6" fmla="*/ 0 w 37"/>
              <a:gd name="T7" fmla="*/ 2147483647 h 29"/>
              <a:gd name="T8" fmla="*/ 2147483647 w 37"/>
              <a:gd name="T9" fmla="*/ 2147483647 h 29"/>
              <a:gd name="T10" fmla="*/ 2147483647 w 37"/>
              <a:gd name="T11" fmla="*/ 2147483647 h 29"/>
              <a:gd name="T12" fmla="*/ 2147483647 w 37"/>
              <a:gd name="T13" fmla="*/ 2147483647 h 29"/>
              <a:gd name="T14" fmla="*/ 2147483647 w 37"/>
              <a:gd name="T15" fmla="*/ 2147483647 h 29"/>
              <a:gd name="T16" fmla="*/ 2147483647 w 37"/>
              <a:gd name="T17" fmla="*/ 2147483647 h 29"/>
              <a:gd name="T18" fmla="*/ 2147483647 w 37"/>
              <a:gd name="T19" fmla="*/ 2147483647 h 29"/>
              <a:gd name="T20" fmla="*/ 2147483647 w 37"/>
              <a:gd name="T21" fmla="*/ 2147483647 h 29"/>
              <a:gd name="T22" fmla="*/ 2147483647 w 37"/>
              <a:gd name="T23" fmla="*/ 2147483647 h 29"/>
              <a:gd name="T24" fmla="*/ 2147483647 w 37"/>
              <a:gd name="T25" fmla="*/ 2147483647 h 29"/>
              <a:gd name="T26" fmla="*/ 2147483647 w 37"/>
              <a:gd name="T27" fmla="*/ 2147483647 h 29"/>
              <a:gd name="T28" fmla="*/ 2147483647 w 37"/>
              <a:gd name="T29" fmla="*/ 2147483647 h 29"/>
              <a:gd name="T30" fmla="*/ 2147483647 w 37"/>
              <a:gd name="T31" fmla="*/ 2147483647 h 29"/>
              <a:gd name="T32" fmla="*/ 2147483647 w 37"/>
              <a:gd name="T33" fmla="*/ 2147483647 h 29"/>
              <a:gd name="T34" fmla="*/ 2147483647 w 37"/>
              <a:gd name="T35" fmla="*/ 2147483647 h 29"/>
              <a:gd name="T36" fmla="*/ 2147483647 w 37"/>
              <a:gd name="T37" fmla="*/ 2147483647 h 29"/>
              <a:gd name="T38" fmla="*/ 2147483647 w 37"/>
              <a:gd name="T39" fmla="*/ 0 h 29"/>
              <a:gd name="T40" fmla="*/ 2147483647 w 37"/>
              <a:gd name="T41" fmla="*/ 2147483647 h 29"/>
              <a:gd name="T42" fmla="*/ 2147483647 w 37"/>
              <a:gd name="T43" fmla="*/ 2147483647 h 29"/>
              <a:gd name="T44" fmla="*/ 2147483647 w 37"/>
              <a:gd name="T45" fmla="*/ 2147483647 h 29"/>
              <a:gd name="T46" fmla="*/ 2147483647 w 37"/>
              <a:gd name="T47" fmla="*/ 2147483647 h 29"/>
              <a:gd name="T48" fmla="*/ 2147483647 w 37"/>
              <a:gd name="T49" fmla="*/ 2147483647 h 29"/>
              <a:gd name="T50" fmla="*/ 2147483647 w 37"/>
              <a:gd name="T51" fmla="*/ 2147483647 h 29"/>
              <a:gd name="T52" fmla="*/ 2147483647 w 37"/>
              <a:gd name="T53" fmla="*/ 2147483647 h 29"/>
              <a:gd name="T54" fmla="*/ 2147483647 w 37"/>
              <a:gd name="T55" fmla="*/ 2147483647 h 29"/>
              <a:gd name="T56" fmla="*/ 2147483647 w 37"/>
              <a:gd name="T57" fmla="*/ 2147483647 h 29"/>
              <a:gd name="T58" fmla="*/ 2147483647 w 37"/>
              <a:gd name="T59" fmla="*/ 2147483647 h 29"/>
              <a:gd name="T60" fmla="*/ 2147483647 w 37"/>
              <a:gd name="T61" fmla="*/ 2147483647 h 29"/>
              <a:gd name="T62" fmla="*/ 2147483647 w 37"/>
              <a:gd name="T63" fmla="*/ 2147483647 h 29"/>
              <a:gd name="T64" fmla="*/ 2147483647 w 37"/>
              <a:gd name="T65" fmla="*/ 2147483647 h 29"/>
              <a:gd name="T66" fmla="*/ 2147483647 w 37"/>
              <a:gd name="T67" fmla="*/ 2147483647 h 29"/>
              <a:gd name="T68" fmla="*/ 2147483647 w 37"/>
              <a:gd name="T69" fmla="*/ 2147483647 h 29"/>
              <a:gd name="T70" fmla="*/ 2147483647 w 37"/>
              <a:gd name="T71" fmla="*/ 2147483647 h 29"/>
              <a:gd name="T72" fmla="*/ 2147483647 w 37"/>
              <a:gd name="T73" fmla="*/ 2147483647 h 29"/>
              <a:gd name="T74" fmla="*/ 2147483647 w 37"/>
              <a:gd name="T75" fmla="*/ 2147483647 h 29"/>
              <a:gd name="T76" fmla="*/ 2147483647 w 37"/>
              <a:gd name="T77" fmla="*/ 2147483647 h 29"/>
              <a:gd name="T78" fmla="*/ 2147483647 w 37"/>
              <a:gd name="T79" fmla="*/ 2147483647 h 29"/>
              <a:gd name="T80" fmla="*/ 2147483647 w 37"/>
              <a:gd name="T81" fmla="*/ 2147483647 h 29"/>
              <a:gd name="T82" fmla="*/ 2147483647 w 37"/>
              <a:gd name="T83" fmla="*/ 2147483647 h 29"/>
              <a:gd name="T84" fmla="*/ 2147483647 w 37"/>
              <a:gd name="T85" fmla="*/ 2147483647 h 29"/>
              <a:gd name="T86" fmla="*/ 2147483647 w 37"/>
              <a:gd name="T87" fmla="*/ 2147483647 h 29"/>
              <a:gd name="T88" fmla="*/ 2147483647 w 37"/>
              <a:gd name="T89" fmla="*/ 2147483647 h 29"/>
              <a:gd name="T90" fmla="*/ 2147483647 w 37"/>
              <a:gd name="T91" fmla="*/ 2147483647 h 29"/>
              <a:gd name="T92" fmla="*/ 2147483647 w 37"/>
              <a:gd name="T93" fmla="*/ 2147483647 h 29"/>
              <a:gd name="T94" fmla="*/ 2147483647 w 37"/>
              <a:gd name="T95" fmla="*/ 2147483647 h 29"/>
              <a:gd name="T96" fmla="*/ 2147483647 w 37"/>
              <a:gd name="T97" fmla="*/ 2147483647 h 29"/>
              <a:gd name="T98" fmla="*/ 2147483647 w 37"/>
              <a:gd name="T99" fmla="*/ 2147483647 h 2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37"/>
              <a:gd name="T151" fmla="*/ 0 h 29"/>
              <a:gd name="T152" fmla="*/ 37 w 37"/>
              <a:gd name="T153" fmla="*/ 29 h 29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37" h="29">
                <a:moveTo>
                  <a:pt x="5" y="28"/>
                </a:moveTo>
                <a:lnTo>
                  <a:pt x="4" y="26"/>
                </a:lnTo>
                <a:lnTo>
                  <a:pt x="0" y="26"/>
                </a:lnTo>
                <a:lnTo>
                  <a:pt x="0" y="24"/>
                </a:lnTo>
                <a:lnTo>
                  <a:pt x="2" y="22"/>
                </a:lnTo>
                <a:lnTo>
                  <a:pt x="3" y="20"/>
                </a:lnTo>
                <a:lnTo>
                  <a:pt x="1" y="19"/>
                </a:lnTo>
                <a:lnTo>
                  <a:pt x="1" y="18"/>
                </a:lnTo>
                <a:lnTo>
                  <a:pt x="2" y="16"/>
                </a:lnTo>
                <a:lnTo>
                  <a:pt x="2" y="13"/>
                </a:lnTo>
                <a:lnTo>
                  <a:pt x="3" y="11"/>
                </a:lnTo>
                <a:lnTo>
                  <a:pt x="4" y="9"/>
                </a:lnTo>
                <a:lnTo>
                  <a:pt x="6" y="8"/>
                </a:lnTo>
                <a:lnTo>
                  <a:pt x="6" y="6"/>
                </a:lnTo>
                <a:lnTo>
                  <a:pt x="8" y="4"/>
                </a:lnTo>
                <a:lnTo>
                  <a:pt x="10" y="4"/>
                </a:lnTo>
                <a:lnTo>
                  <a:pt x="11" y="3"/>
                </a:lnTo>
                <a:lnTo>
                  <a:pt x="12" y="1"/>
                </a:lnTo>
                <a:lnTo>
                  <a:pt x="14" y="1"/>
                </a:lnTo>
                <a:lnTo>
                  <a:pt x="15" y="0"/>
                </a:lnTo>
                <a:lnTo>
                  <a:pt x="17" y="1"/>
                </a:lnTo>
                <a:lnTo>
                  <a:pt x="19" y="1"/>
                </a:lnTo>
                <a:lnTo>
                  <a:pt x="20" y="3"/>
                </a:lnTo>
                <a:lnTo>
                  <a:pt x="21" y="5"/>
                </a:lnTo>
                <a:lnTo>
                  <a:pt x="22" y="8"/>
                </a:lnTo>
                <a:lnTo>
                  <a:pt x="22" y="11"/>
                </a:lnTo>
                <a:lnTo>
                  <a:pt x="25" y="12"/>
                </a:lnTo>
                <a:lnTo>
                  <a:pt x="26" y="13"/>
                </a:lnTo>
                <a:lnTo>
                  <a:pt x="29" y="13"/>
                </a:lnTo>
                <a:lnTo>
                  <a:pt x="31" y="14"/>
                </a:lnTo>
                <a:lnTo>
                  <a:pt x="32" y="15"/>
                </a:lnTo>
                <a:lnTo>
                  <a:pt x="32" y="17"/>
                </a:lnTo>
                <a:lnTo>
                  <a:pt x="33" y="19"/>
                </a:lnTo>
                <a:lnTo>
                  <a:pt x="34" y="19"/>
                </a:lnTo>
                <a:lnTo>
                  <a:pt x="36" y="20"/>
                </a:lnTo>
                <a:lnTo>
                  <a:pt x="37" y="21"/>
                </a:lnTo>
                <a:lnTo>
                  <a:pt x="35" y="23"/>
                </a:lnTo>
                <a:lnTo>
                  <a:pt x="33" y="25"/>
                </a:lnTo>
                <a:lnTo>
                  <a:pt x="31" y="27"/>
                </a:lnTo>
                <a:lnTo>
                  <a:pt x="30" y="29"/>
                </a:lnTo>
                <a:lnTo>
                  <a:pt x="26" y="28"/>
                </a:lnTo>
                <a:lnTo>
                  <a:pt x="23" y="28"/>
                </a:lnTo>
                <a:lnTo>
                  <a:pt x="20" y="28"/>
                </a:lnTo>
                <a:lnTo>
                  <a:pt x="17" y="28"/>
                </a:lnTo>
                <a:lnTo>
                  <a:pt x="16" y="26"/>
                </a:lnTo>
                <a:lnTo>
                  <a:pt x="15" y="24"/>
                </a:lnTo>
                <a:lnTo>
                  <a:pt x="12" y="24"/>
                </a:lnTo>
                <a:lnTo>
                  <a:pt x="10" y="26"/>
                </a:lnTo>
                <a:lnTo>
                  <a:pt x="8" y="26"/>
                </a:lnTo>
                <a:lnTo>
                  <a:pt x="5" y="28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40" name="Freeform 30"/>
          <p:cNvSpPr>
            <a:spLocks/>
          </p:cNvSpPr>
          <p:nvPr/>
        </p:nvSpPr>
        <p:spPr bwMode="auto">
          <a:xfrm>
            <a:off x="2707832" y="3197224"/>
            <a:ext cx="295275" cy="190500"/>
          </a:xfrm>
          <a:custGeom>
            <a:avLst/>
            <a:gdLst>
              <a:gd name="T0" fmla="*/ 2147483647 w 31"/>
              <a:gd name="T1" fmla="*/ 2147483647 h 20"/>
              <a:gd name="T2" fmla="*/ 2147483647 w 31"/>
              <a:gd name="T3" fmla="*/ 2147483647 h 20"/>
              <a:gd name="T4" fmla="*/ 2147483647 w 31"/>
              <a:gd name="T5" fmla="*/ 2147483647 h 20"/>
              <a:gd name="T6" fmla="*/ 2147483647 w 31"/>
              <a:gd name="T7" fmla="*/ 2147483647 h 20"/>
              <a:gd name="T8" fmla="*/ 2147483647 w 31"/>
              <a:gd name="T9" fmla="*/ 2147483647 h 20"/>
              <a:gd name="T10" fmla="*/ 2147483647 w 31"/>
              <a:gd name="T11" fmla="*/ 2147483647 h 20"/>
              <a:gd name="T12" fmla="*/ 2147483647 w 31"/>
              <a:gd name="T13" fmla="*/ 2147483647 h 20"/>
              <a:gd name="T14" fmla="*/ 2147483647 w 31"/>
              <a:gd name="T15" fmla="*/ 0 h 20"/>
              <a:gd name="T16" fmla="*/ 2147483647 w 31"/>
              <a:gd name="T17" fmla="*/ 0 h 20"/>
              <a:gd name="T18" fmla="*/ 2147483647 w 31"/>
              <a:gd name="T19" fmla="*/ 2147483647 h 20"/>
              <a:gd name="T20" fmla="*/ 2147483647 w 31"/>
              <a:gd name="T21" fmla="*/ 2147483647 h 20"/>
              <a:gd name="T22" fmla="*/ 0 w 31"/>
              <a:gd name="T23" fmla="*/ 2147483647 h 20"/>
              <a:gd name="T24" fmla="*/ 0 w 31"/>
              <a:gd name="T25" fmla="*/ 2147483647 h 20"/>
              <a:gd name="T26" fmla="*/ 0 w 31"/>
              <a:gd name="T27" fmla="*/ 2147483647 h 20"/>
              <a:gd name="T28" fmla="*/ 2147483647 w 31"/>
              <a:gd name="T29" fmla="*/ 2147483647 h 20"/>
              <a:gd name="T30" fmla="*/ 2147483647 w 31"/>
              <a:gd name="T31" fmla="*/ 2147483647 h 20"/>
              <a:gd name="T32" fmla="*/ 2147483647 w 31"/>
              <a:gd name="T33" fmla="*/ 2147483647 h 20"/>
              <a:gd name="T34" fmla="*/ 2147483647 w 31"/>
              <a:gd name="T35" fmla="*/ 2147483647 h 20"/>
              <a:gd name="T36" fmla="*/ 2147483647 w 31"/>
              <a:gd name="T37" fmla="*/ 2147483647 h 20"/>
              <a:gd name="T38" fmla="*/ 2147483647 w 31"/>
              <a:gd name="T39" fmla="*/ 2147483647 h 20"/>
              <a:gd name="T40" fmla="*/ 2147483647 w 31"/>
              <a:gd name="T41" fmla="*/ 2147483647 h 20"/>
              <a:gd name="T42" fmla="*/ 2147483647 w 31"/>
              <a:gd name="T43" fmla="*/ 2147483647 h 20"/>
              <a:gd name="T44" fmla="*/ 2147483647 w 31"/>
              <a:gd name="T45" fmla="*/ 2147483647 h 20"/>
              <a:gd name="T46" fmla="*/ 2147483647 w 31"/>
              <a:gd name="T47" fmla="*/ 2147483647 h 20"/>
              <a:gd name="T48" fmla="*/ 2147483647 w 31"/>
              <a:gd name="T49" fmla="*/ 2147483647 h 20"/>
              <a:gd name="T50" fmla="*/ 2147483647 w 31"/>
              <a:gd name="T51" fmla="*/ 2147483647 h 20"/>
              <a:gd name="T52" fmla="*/ 2147483647 w 31"/>
              <a:gd name="T53" fmla="*/ 2147483647 h 20"/>
              <a:gd name="T54" fmla="*/ 2147483647 w 31"/>
              <a:gd name="T55" fmla="*/ 2147483647 h 20"/>
              <a:gd name="T56" fmla="*/ 2147483647 w 31"/>
              <a:gd name="T57" fmla="*/ 2147483647 h 20"/>
              <a:gd name="T58" fmla="*/ 2147483647 w 31"/>
              <a:gd name="T59" fmla="*/ 2147483647 h 20"/>
              <a:gd name="T60" fmla="*/ 2147483647 w 31"/>
              <a:gd name="T61" fmla="*/ 2147483647 h 20"/>
              <a:gd name="T62" fmla="*/ 2147483647 w 31"/>
              <a:gd name="T63" fmla="*/ 2147483647 h 20"/>
              <a:gd name="T64" fmla="*/ 2147483647 w 31"/>
              <a:gd name="T65" fmla="*/ 2147483647 h 20"/>
              <a:gd name="T66" fmla="*/ 2147483647 w 31"/>
              <a:gd name="T67" fmla="*/ 2147483647 h 20"/>
              <a:gd name="T68" fmla="*/ 2147483647 w 31"/>
              <a:gd name="T69" fmla="*/ 2147483647 h 20"/>
              <a:gd name="T70" fmla="*/ 2147483647 w 31"/>
              <a:gd name="T71" fmla="*/ 2147483647 h 20"/>
              <a:gd name="T72" fmla="*/ 2147483647 w 31"/>
              <a:gd name="T73" fmla="*/ 2147483647 h 20"/>
              <a:gd name="T74" fmla="*/ 2147483647 w 31"/>
              <a:gd name="T75" fmla="*/ 2147483647 h 20"/>
              <a:gd name="T76" fmla="*/ 2147483647 w 31"/>
              <a:gd name="T77" fmla="*/ 2147483647 h 2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31"/>
              <a:gd name="T118" fmla="*/ 0 h 20"/>
              <a:gd name="T119" fmla="*/ 31 w 31"/>
              <a:gd name="T120" fmla="*/ 20 h 20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31" h="20">
                <a:moveTo>
                  <a:pt x="26" y="3"/>
                </a:moveTo>
                <a:lnTo>
                  <a:pt x="25" y="5"/>
                </a:lnTo>
                <a:lnTo>
                  <a:pt x="21" y="4"/>
                </a:lnTo>
                <a:lnTo>
                  <a:pt x="18" y="4"/>
                </a:lnTo>
                <a:lnTo>
                  <a:pt x="15" y="4"/>
                </a:lnTo>
                <a:lnTo>
                  <a:pt x="12" y="4"/>
                </a:lnTo>
                <a:lnTo>
                  <a:pt x="11" y="2"/>
                </a:lnTo>
                <a:lnTo>
                  <a:pt x="10" y="0"/>
                </a:lnTo>
                <a:lnTo>
                  <a:pt x="7" y="0"/>
                </a:lnTo>
                <a:lnTo>
                  <a:pt x="5" y="2"/>
                </a:lnTo>
                <a:lnTo>
                  <a:pt x="3" y="2"/>
                </a:lnTo>
                <a:lnTo>
                  <a:pt x="0" y="4"/>
                </a:lnTo>
                <a:lnTo>
                  <a:pt x="0" y="6"/>
                </a:lnTo>
                <a:lnTo>
                  <a:pt x="0" y="8"/>
                </a:lnTo>
                <a:lnTo>
                  <a:pt x="3" y="9"/>
                </a:lnTo>
                <a:lnTo>
                  <a:pt x="3" y="13"/>
                </a:lnTo>
                <a:lnTo>
                  <a:pt x="2" y="14"/>
                </a:lnTo>
                <a:lnTo>
                  <a:pt x="4" y="16"/>
                </a:lnTo>
                <a:lnTo>
                  <a:pt x="6" y="16"/>
                </a:lnTo>
                <a:lnTo>
                  <a:pt x="8" y="18"/>
                </a:lnTo>
                <a:lnTo>
                  <a:pt x="10" y="19"/>
                </a:lnTo>
                <a:lnTo>
                  <a:pt x="13" y="19"/>
                </a:lnTo>
                <a:lnTo>
                  <a:pt x="14" y="17"/>
                </a:lnTo>
                <a:lnTo>
                  <a:pt x="16" y="17"/>
                </a:lnTo>
                <a:lnTo>
                  <a:pt x="18" y="17"/>
                </a:lnTo>
                <a:lnTo>
                  <a:pt x="20" y="20"/>
                </a:lnTo>
                <a:lnTo>
                  <a:pt x="22" y="20"/>
                </a:lnTo>
                <a:lnTo>
                  <a:pt x="24" y="19"/>
                </a:lnTo>
                <a:lnTo>
                  <a:pt x="24" y="18"/>
                </a:lnTo>
                <a:lnTo>
                  <a:pt x="26" y="18"/>
                </a:lnTo>
                <a:lnTo>
                  <a:pt x="28" y="18"/>
                </a:lnTo>
                <a:lnTo>
                  <a:pt x="28" y="16"/>
                </a:lnTo>
                <a:lnTo>
                  <a:pt x="30" y="14"/>
                </a:lnTo>
                <a:lnTo>
                  <a:pt x="31" y="12"/>
                </a:lnTo>
                <a:lnTo>
                  <a:pt x="30" y="11"/>
                </a:lnTo>
                <a:lnTo>
                  <a:pt x="31" y="9"/>
                </a:lnTo>
                <a:lnTo>
                  <a:pt x="28" y="8"/>
                </a:lnTo>
                <a:lnTo>
                  <a:pt x="28" y="6"/>
                </a:lnTo>
                <a:lnTo>
                  <a:pt x="26" y="3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41" name="Freeform 31"/>
          <p:cNvSpPr>
            <a:spLocks/>
          </p:cNvSpPr>
          <p:nvPr/>
        </p:nvSpPr>
        <p:spPr bwMode="auto">
          <a:xfrm>
            <a:off x="2955482" y="3168649"/>
            <a:ext cx="228600" cy="323850"/>
          </a:xfrm>
          <a:custGeom>
            <a:avLst/>
            <a:gdLst>
              <a:gd name="T0" fmla="*/ 2147483647 w 24"/>
              <a:gd name="T1" fmla="*/ 0 h 34"/>
              <a:gd name="T2" fmla="*/ 2147483647 w 24"/>
              <a:gd name="T3" fmla="*/ 2147483647 h 34"/>
              <a:gd name="T4" fmla="*/ 2147483647 w 24"/>
              <a:gd name="T5" fmla="*/ 2147483647 h 34"/>
              <a:gd name="T6" fmla="*/ 0 w 24"/>
              <a:gd name="T7" fmla="*/ 2147483647 h 34"/>
              <a:gd name="T8" fmla="*/ 2147483647 w 24"/>
              <a:gd name="T9" fmla="*/ 2147483647 h 34"/>
              <a:gd name="T10" fmla="*/ 2147483647 w 24"/>
              <a:gd name="T11" fmla="*/ 2147483647 h 34"/>
              <a:gd name="T12" fmla="*/ 2147483647 w 24"/>
              <a:gd name="T13" fmla="*/ 2147483647 h 34"/>
              <a:gd name="T14" fmla="*/ 2147483647 w 24"/>
              <a:gd name="T15" fmla="*/ 2147483647 h 34"/>
              <a:gd name="T16" fmla="*/ 2147483647 w 24"/>
              <a:gd name="T17" fmla="*/ 2147483647 h 34"/>
              <a:gd name="T18" fmla="*/ 2147483647 w 24"/>
              <a:gd name="T19" fmla="*/ 2147483647 h 34"/>
              <a:gd name="T20" fmla="*/ 2147483647 w 24"/>
              <a:gd name="T21" fmla="*/ 2147483647 h 34"/>
              <a:gd name="T22" fmla="*/ 2147483647 w 24"/>
              <a:gd name="T23" fmla="*/ 2147483647 h 34"/>
              <a:gd name="T24" fmla="*/ 2147483647 w 24"/>
              <a:gd name="T25" fmla="*/ 2147483647 h 34"/>
              <a:gd name="T26" fmla="*/ 2147483647 w 24"/>
              <a:gd name="T27" fmla="*/ 2147483647 h 34"/>
              <a:gd name="T28" fmla="*/ 2147483647 w 24"/>
              <a:gd name="T29" fmla="*/ 2147483647 h 34"/>
              <a:gd name="T30" fmla="*/ 2147483647 w 24"/>
              <a:gd name="T31" fmla="*/ 2147483647 h 34"/>
              <a:gd name="T32" fmla="*/ 2147483647 w 24"/>
              <a:gd name="T33" fmla="*/ 2147483647 h 34"/>
              <a:gd name="T34" fmla="*/ 2147483647 w 24"/>
              <a:gd name="T35" fmla="*/ 2147483647 h 34"/>
              <a:gd name="T36" fmla="*/ 2147483647 w 24"/>
              <a:gd name="T37" fmla="*/ 2147483647 h 34"/>
              <a:gd name="T38" fmla="*/ 2147483647 w 24"/>
              <a:gd name="T39" fmla="*/ 2147483647 h 34"/>
              <a:gd name="T40" fmla="*/ 2147483647 w 24"/>
              <a:gd name="T41" fmla="*/ 2147483647 h 34"/>
              <a:gd name="T42" fmla="*/ 2147483647 w 24"/>
              <a:gd name="T43" fmla="*/ 2147483647 h 34"/>
              <a:gd name="T44" fmla="*/ 2147483647 w 24"/>
              <a:gd name="T45" fmla="*/ 2147483647 h 34"/>
              <a:gd name="T46" fmla="*/ 2147483647 w 24"/>
              <a:gd name="T47" fmla="*/ 2147483647 h 34"/>
              <a:gd name="T48" fmla="*/ 2147483647 w 24"/>
              <a:gd name="T49" fmla="*/ 2147483647 h 34"/>
              <a:gd name="T50" fmla="*/ 2147483647 w 24"/>
              <a:gd name="T51" fmla="*/ 2147483647 h 34"/>
              <a:gd name="T52" fmla="*/ 2147483647 w 24"/>
              <a:gd name="T53" fmla="*/ 2147483647 h 34"/>
              <a:gd name="T54" fmla="*/ 2147483647 w 24"/>
              <a:gd name="T55" fmla="*/ 2147483647 h 34"/>
              <a:gd name="T56" fmla="*/ 2147483647 w 24"/>
              <a:gd name="T57" fmla="*/ 2147483647 h 34"/>
              <a:gd name="T58" fmla="*/ 2147483647 w 24"/>
              <a:gd name="T59" fmla="*/ 2147483647 h 34"/>
              <a:gd name="T60" fmla="*/ 2147483647 w 24"/>
              <a:gd name="T61" fmla="*/ 2147483647 h 34"/>
              <a:gd name="T62" fmla="*/ 2147483647 w 24"/>
              <a:gd name="T63" fmla="*/ 2147483647 h 34"/>
              <a:gd name="T64" fmla="*/ 2147483647 w 24"/>
              <a:gd name="T65" fmla="*/ 2147483647 h 34"/>
              <a:gd name="T66" fmla="*/ 2147483647 w 24"/>
              <a:gd name="T67" fmla="*/ 2147483647 h 34"/>
              <a:gd name="T68" fmla="*/ 2147483647 w 24"/>
              <a:gd name="T69" fmla="*/ 2147483647 h 34"/>
              <a:gd name="T70" fmla="*/ 2147483647 w 24"/>
              <a:gd name="T71" fmla="*/ 2147483647 h 34"/>
              <a:gd name="T72" fmla="*/ 2147483647 w 24"/>
              <a:gd name="T73" fmla="*/ 2147483647 h 34"/>
              <a:gd name="T74" fmla="*/ 2147483647 w 24"/>
              <a:gd name="T75" fmla="*/ 2147483647 h 34"/>
              <a:gd name="T76" fmla="*/ 2147483647 w 24"/>
              <a:gd name="T77" fmla="*/ 0 h 34"/>
              <a:gd name="T78" fmla="*/ 2147483647 w 24"/>
              <a:gd name="T79" fmla="*/ 0 h 34"/>
              <a:gd name="T80" fmla="*/ 2147483647 w 24"/>
              <a:gd name="T81" fmla="*/ 0 h 34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4"/>
              <a:gd name="T124" fmla="*/ 0 h 34"/>
              <a:gd name="T125" fmla="*/ 24 w 24"/>
              <a:gd name="T126" fmla="*/ 34 h 34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4" h="34">
                <a:moveTo>
                  <a:pt x="6" y="0"/>
                </a:moveTo>
                <a:lnTo>
                  <a:pt x="4" y="2"/>
                </a:lnTo>
                <a:lnTo>
                  <a:pt x="2" y="4"/>
                </a:lnTo>
                <a:lnTo>
                  <a:pt x="0" y="6"/>
                </a:lnTo>
                <a:lnTo>
                  <a:pt x="2" y="9"/>
                </a:lnTo>
                <a:lnTo>
                  <a:pt x="2" y="11"/>
                </a:lnTo>
                <a:lnTo>
                  <a:pt x="5" y="12"/>
                </a:lnTo>
                <a:lnTo>
                  <a:pt x="4" y="14"/>
                </a:lnTo>
                <a:lnTo>
                  <a:pt x="5" y="15"/>
                </a:lnTo>
                <a:lnTo>
                  <a:pt x="4" y="17"/>
                </a:lnTo>
                <a:lnTo>
                  <a:pt x="2" y="19"/>
                </a:lnTo>
                <a:lnTo>
                  <a:pt x="2" y="21"/>
                </a:lnTo>
                <a:lnTo>
                  <a:pt x="3" y="24"/>
                </a:lnTo>
                <a:lnTo>
                  <a:pt x="5" y="24"/>
                </a:lnTo>
                <a:lnTo>
                  <a:pt x="5" y="27"/>
                </a:lnTo>
                <a:lnTo>
                  <a:pt x="6" y="28"/>
                </a:lnTo>
                <a:lnTo>
                  <a:pt x="8" y="30"/>
                </a:lnTo>
                <a:lnTo>
                  <a:pt x="10" y="32"/>
                </a:lnTo>
                <a:lnTo>
                  <a:pt x="13" y="31"/>
                </a:lnTo>
                <a:lnTo>
                  <a:pt x="15" y="31"/>
                </a:lnTo>
                <a:lnTo>
                  <a:pt x="17" y="34"/>
                </a:lnTo>
                <a:lnTo>
                  <a:pt x="19" y="33"/>
                </a:lnTo>
                <a:lnTo>
                  <a:pt x="22" y="31"/>
                </a:lnTo>
                <a:lnTo>
                  <a:pt x="22" y="29"/>
                </a:lnTo>
                <a:lnTo>
                  <a:pt x="24" y="27"/>
                </a:lnTo>
                <a:lnTo>
                  <a:pt x="23" y="25"/>
                </a:lnTo>
                <a:lnTo>
                  <a:pt x="21" y="23"/>
                </a:lnTo>
                <a:lnTo>
                  <a:pt x="20" y="20"/>
                </a:lnTo>
                <a:lnTo>
                  <a:pt x="20" y="17"/>
                </a:lnTo>
                <a:lnTo>
                  <a:pt x="21" y="14"/>
                </a:lnTo>
                <a:lnTo>
                  <a:pt x="23" y="12"/>
                </a:lnTo>
                <a:lnTo>
                  <a:pt x="24" y="10"/>
                </a:lnTo>
                <a:lnTo>
                  <a:pt x="24" y="8"/>
                </a:lnTo>
                <a:lnTo>
                  <a:pt x="24" y="5"/>
                </a:lnTo>
                <a:lnTo>
                  <a:pt x="21" y="6"/>
                </a:lnTo>
                <a:lnTo>
                  <a:pt x="17" y="5"/>
                </a:lnTo>
                <a:lnTo>
                  <a:pt x="15" y="4"/>
                </a:lnTo>
                <a:lnTo>
                  <a:pt x="12" y="2"/>
                </a:lnTo>
                <a:lnTo>
                  <a:pt x="11" y="0"/>
                </a:lnTo>
                <a:lnTo>
                  <a:pt x="9" y="0"/>
                </a:lnTo>
                <a:lnTo>
                  <a:pt x="6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42" name="Freeform 32"/>
          <p:cNvSpPr>
            <a:spLocks/>
          </p:cNvSpPr>
          <p:nvPr/>
        </p:nvSpPr>
        <p:spPr bwMode="auto">
          <a:xfrm>
            <a:off x="2841182" y="2882899"/>
            <a:ext cx="485775" cy="371475"/>
          </a:xfrm>
          <a:custGeom>
            <a:avLst/>
            <a:gdLst>
              <a:gd name="T0" fmla="*/ 2147483647 w 51"/>
              <a:gd name="T1" fmla="*/ 2147483647 h 39"/>
              <a:gd name="T2" fmla="*/ 2147483647 w 51"/>
              <a:gd name="T3" fmla="*/ 2147483647 h 39"/>
              <a:gd name="T4" fmla="*/ 2147483647 w 51"/>
              <a:gd name="T5" fmla="*/ 2147483647 h 39"/>
              <a:gd name="T6" fmla="*/ 2147483647 w 51"/>
              <a:gd name="T7" fmla="*/ 2147483647 h 39"/>
              <a:gd name="T8" fmla="*/ 2147483647 w 51"/>
              <a:gd name="T9" fmla="*/ 2147483647 h 39"/>
              <a:gd name="T10" fmla="*/ 2147483647 w 51"/>
              <a:gd name="T11" fmla="*/ 2147483647 h 39"/>
              <a:gd name="T12" fmla="*/ 2147483647 w 51"/>
              <a:gd name="T13" fmla="*/ 2147483647 h 39"/>
              <a:gd name="T14" fmla="*/ 2147483647 w 51"/>
              <a:gd name="T15" fmla="*/ 2147483647 h 39"/>
              <a:gd name="T16" fmla="*/ 2147483647 w 51"/>
              <a:gd name="T17" fmla="*/ 2147483647 h 39"/>
              <a:gd name="T18" fmla="*/ 2147483647 w 51"/>
              <a:gd name="T19" fmla="*/ 2147483647 h 39"/>
              <a:gd name="T20" fmla="*/ 2147483647 w 51"/>
              <a:gd name="T21" fmla="*/ 2147483647 h 39"/>
              <a:gd name="T22" fmla="*/ 2147483647 w 51"/>
              <a:gd name="T23" fmla="*/ 2147483647 h 39"/>
              <a:gd name="T24" fmla="*/ 2147483647 w 51"/>
              <a:gd name="T25" fmla="*/ 2147483647 h 39"/>
              <a:gd name="T26" fmla="*/ 2147483647 w 51"/>
              <a:gd name="T27" fmla="*/ 2147483647 h 39"/>
              <a:gd name="T28" fmla="*/ 2147483647 w 51"/>
              <a:gd name="T29" fmla="*/ 2147483647 h 39"/>
              <a:gd name="T30" fmla="*/ 2147483647 w 51"/>
              <a:gd name="T31" fmla="*/ 2147483647 h 39"/>
              <a:gd name="T32" fmla="*/ 2147483647 w 51"/>
              <a:gd name="T33" fmla="*/ 2147483647 h 39"/>
              <a:gd name="T34" fmla="*/ 2147483647 w 51"/>
              <a:gd name="T35" fmla="*/ 2147483647 h 39"/>
              <a:gd name="T36" fmla="*/ 2147483647 w 51"/>
              <a:gd name="T37" fmla="*/ 2147483647 h 39"/>
              <a:gd name="T38" fmla="*/ 2147483647 w 51"/>
              <a:gd name="T39" fmla="*/ 2147483647 h 39"/>
              <a:gd name="T40" fmla="*/ 2147483647 w 51"/>
              <a:gd name="T41" fmla="*/ 2147483647 h 39"/>
              <a:gd name="T42" fmla="*/ 2147483647 w 51"/>
              <a:gd name="T43" fmla="*/ 2147483647 h 39"/>
              <a:gd name="T44" fmla="*/ 2147483647 w 51"/>
              <a:gd name="T45" fmla="*/ 2147483647 h 39"/>
              <a:gd name="T46" fmla="*/ 0 w 51"/>
              <a:gd name="T47" fmla="*/ 2147483647 h 39"/>
              <a:gd name="T48" fmla="*/ 2147483647 w 51"/>
              <a:gd name="T49" fmla="*/ 2147483647 h 39"/>
              <a:gd name="T50" fmla="*/ 2147483647 w 51"/>
              <a:gd name="T51" fmla="*/ 2147483647 h 39"/>
              <a:gd name="T52" fmla="*/ 2147483647 w 51"/>
              <a:gd name="T53" fmla="*/ 2147483647 h 39"/>
              <a:gd name="T54" fmla="*/ 2147483647 w 51"/>
              <a:gd name="T55" fmla="*/ 2147483647 h 39"/>
              <a:gd name="T56" fmla="*/ 2147483647 w 51"/>
              <a:gd name="T57" fmla="*/ 0 h 39"/>
              <a:gd name="T58" fmla="*/ 2147483647 w 51"/>
              <a:gd name="T59" fmla="*/ 2147483647 h 39"/>
              <a:gd name="T60" fmla="*/ 2147483647 w 51"/>
              <a:gd name="T61" fmla="*/ 2147483647 h 39"/>
              <a:gd name="T62" fmla="*/ 2147483647 w 51"/>
              <a:gd name="T63" fmla="*/ 2147483647 h 39"/>
              <a:gd name="T64" fmla="*/ 2147483647 w 51"/>
              <a:gd name="T65" fmla="*/ 2147483647 h 39"/>
              <a:gd name="T66" fmla="*/ 2147483647 w 51"/>
              <a:gd name="T67" fmla="*/ 2147483647 h 39"/>
              <a:gd name="T68" fmla="*/ 2147483647 w 51"/>
              <a:gd name="T69" fmla="*/ 2147483647 h 39"/>
              <a:gd name="T70" fmla="*/ 2147483647 w 51"/>
              <a:gd name="T71" fmla="*/ 2147483647 h 39"/>
              <a:gd name="T72" fmla="*/ 2147483647 w 51"/>
              <a:gd name="T73" fmla="*/ 2147483647 h 39"/>
              <a:gd name="T74" fmla="*/ 2147483647 w 51"/>
              <a:gd name="T75" fmla="*/ 2147483647 h 39"/>
              <a:gd name="T76" fmla="*/ 2147483647 w 51"/>
              <a:gd name="T77" fmla="*/ 2147483647 h 39"/>
              <a:gd name="T78" fmla="*/ 2147483647 w 51"/>
              <a:gd name="T79" fmla="*/ 2147483647 h 39"/>
              <a:gd name="T80" fmla="*/ 2147483647 w 51"/>
              <a:gd name="T81" fmla="*/ 2147483647 h 39"/>
              <a:gd name="T82" fmla="*/ 2147483647 w 51"/>
              <a:gd name="T83" fmla="*/ 2147483647 h 39"/>
              <a:gd name="T84" fmla="*/ 2147483647 w 51"/>
              <a:gd name="T85" fmla="*/ 2147483647 h 39"/>
              <a:gd name="T86" fmla="*/ 2147483647 w 51"/>
              <a:gd name="T87" fmla="*/ 2147483647 h 39"/>
              <a:gd name="T88" fmla="*/ 2147483647 w 51"/>
              <a:gd name="T89" fmla="*/ 2147483647 h 39"/>
              <a:gd name="T90" fmla="*/ 2147483647 w 51"/>
              <a:gd name="T91" fmla="*/ 2147483647 h 39"/>
              <a:gd name="T92" fmla="*/ 2147483647 w 51"/>
              <a:gd name="T93" fmla="*/ 2147483647 h 39"/>
              <a:gd name="T94" fmla="*/ 2147483647 w 51"/>
              <a:gd name="T95" fmla="*/ 2147483647 h 39"/>
              <a:gd name="T96" fmla="*/ 2147483647 w 51"/>
              <a:gd name="T97" fmla="*/ 2147483647 h 39"/>
              <a:gd name="T98" fmla="*/ 2147483647 w 51"/>
              <a:gd name="T99" fmla="*/ 2147483647 h 39"/>
              <a:gd name="T100" fmla="*/ 2147483647 w 51"/>
              <a:gd name="T101" fmla="*/ 2147483647 h 39"/>
              <a:gd name="T102" fmla="*/ 2147483647 w 51"/>
              <a:gd name="T103" fmla="*/ 2147483647 h 39"/>
              <a:gd name="T104" fmla="*/ 2147483647 w 51"/>
              <a:gd name="T105" fmla="*/ 2147483647 h 39"/>
              <a:gd name="T106" fmla="*/ 2147483647 w 51"/>
              <a:gd name="T107" fmla="*/ 2147483647 h 39"/>
              <a:gd name="T108" fmla="*/ 2147483647 w 51"/>
              <a:gd name="T109" fmla="*/ 2147483647 h 39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51"/>
              <a:gd name="T166" fmla="*/ 0 h 39"/>
              <a:gd name="T167" fmla="*/ 51 w 51"/>
              <a:gd name="T168" fmla="*/ 39 h 39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51" h="39">
                <a:moveTo>
                  <a:pt x="36" y="39"/>
                </a:moveTo>
                <a:lnTo>
                  <a:pt x="36" y="38"/>
                </a:lnTo>
                <a:lnTo>
                  <a:pt x="36" y="35"/>
                </a:lnTo>
                <a:lnTo>
                  <a:pt x="33" y="36"/>
                </a:lnTo>
                <a:lnTo>
                  <a:pt x="29" y="35"/>
                </a:lnTo>
                <a:lnTo>
                  <a:pt x="27" y="34"/>
                </a:lnTo>
                <a:lnTo>
                  <a:pt x="24" y="32"/>
                </a:lnTo>
                <a:lnTo>
                  <a:pt x="23" y="30"/>
                </a:lnTo>
                <a:lnTo>
                  <a:pt x="21" y="30"/>
                </a:lnTo>
                <a:lnTo>
                  <a:pt x="18" y="30"/>
                </a:lnTo>
                <a:lnTo>
                  <a:pt x="17" y="29"/>
                </a:lnTo>
                <a:lnTo>
                  <a:pt x="15" y="28"/>
                </a:lnTo>
                <a:lnTo>
                  <a:pt x="14" y="28"/>
                </a:lnTo>
                <a:lnTo>
                  <a:pt x="13" y="26"/>
                </a:lnTo>
                <a:lnTo>
                  <a:pt x="13" y="24"/>
                </a:lnTo>
                <a:lnTo>
                  <a:pt x="12" y="23"/>
                </a:lnTo>
                <a:lnTo>
                  <a:pt x="10" y="22"/>
                </a:lnTo>
                <a:lnTo>
                  <a:pt x="7" y="22"/>
                </a:lnTo>
                <a:lnTo>
                  <a:pt x="6" y="21"/>
                </a:lnTo>
                <a:lnTo>
                  <a:pt x="3" y="20"/>
                </a:lnTo>
                <a:lnTo>
                  <a:pt x="3" y="17"/>
                </a:lnTo>
                <a:lnTo>
                  <a:pt x="2" y="14"/>
                </a:lnTo>
                <a:lnTo>
                  <a:pt x="1" y="12"/>
                </a:lnTo>
                <a:lnTo>
                  <a:pt x="0" y="10"/>
                </a:lnTo>
                <a:lnTo>
                  <a:pt x="3" y="9"/>
                </a:lnTo>
                <a:lnTo>
                  <a:pt x="5" y="6"/>
                </a:lnTo>
                <a:lnTo>
                  <a:pt x="6" y="4"/>
                </a:lnTo>
                <a:lnTo>
                  <a:pt x="6" y="1"/>
                </a:lnTo>
                <a:lnTo>
                  <a:pt x="9" y="0"/>
                </a:lnTo>
                <a:lnTo>
                  <a:pt x="11" y="2"/>
                </a:lnTo>
                <a:lnTo>
                  <a:pt x="12" y="4"/>
                </a:lnTo>
                <a:lnTo>
                  <a:pt x="15" y="4"/>
                </a:lnTo>
                <a:lnTo>
                  <a:pt x="18" y="5"/>
                </a:lnTo>
                <a:lnTo>
                  <a:pt x="22" y="6"/>
                </a:lnTo>
                <a:lnTo>
                  <a:pt x="24" y="9"/>
                </a:lnTo>
                <a:lnTo>
                  <a:pt x="28" y="9"/>
                </a:lnTo>
                <a:lnTo>
                  <a:pt x="30" y="9"/>
                </a:lnTo>
                <a:lnTo>
                  <a:pt x="30" y="7"/>
                </a:lnTo>
                <a:lnTo>
                  <a:pt x="32" y="6"/>
                </a:lnTo>
                <a:lnTo>
                  <a:pt x="33" y="7"/>
                </a:lnTo>
                <a:lnTo>
                  <a:pt x="35" y="9"/>
                </a:lnTo>
                <a:lnTo>
                  <a:pt x="38" y="12"/>
                </a:lnTo>
                <a:lnTo>
                  <a:pt x="42" y="13"/>
                </a:lnTo>
                <a:lnTo>
                  <a:pt x="45" y="16"/>
                </a:lnTo>
                <a:lnTo>
                  <a:pt x="46" y="17"/>
                </a:lnTo>
                <a:lnTo>
                  <a:pt x="51" y="17"/>
                </a:lnTo>
                <a:lnTo>
                  <a:pt x="51" y="22"/>
                </a:lnTo>
                <a:lnTo>
                  <a:pt x="48" y="25"/>
                </a:lnTo>
                <a:lnTo>
                  <a:pt x="46" y="26"/>
                </a:lnTo>
                <a:lnTo>
                  <a:pt x="43" y="26"/>
                </a:lnTo>
                <a:lnTo>
                  <a:pt x="43" y="29"/>
                </a:lnTo>
                <a:lnTo>
                  <a:pt x="43" y="33"/>
                </a:lnTo>
                <a:lnTo>
                  <a:pt x="42" y="36"/>
                </a:lnTo>
                <a:lnTo>
                  <a:pt x="40" y="39"/>
                </a:lnTo>
                <a:lnTo>
                  <a:pt x="36" y="39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43" name="Freeform 33"/>
          <p:cNvSpPr>
            <a:spLocks/>
          </p:cNvSpPr>
          <p:nvPr/>
        </p:nvSpPr>
        <p:spPr bwMode="auto">
          <a:xfrm>
            <a:off x="3145982" y="3282949"/>
            <a:ext cx="209550" cy="276225"/>
          </a:xfrm>
          <a:custGeom>
            <a:avLst/>
            <a:gdLst>
              <a:gd name="T0" fmla="*/ 2147483647 w 22"/>
              <a:gd name="T1" fmla="*/ 2147483647 h 29"/>
              <a:gd name="T2" fmla="*/ 2147483647 w 22"/>
              <a:gd name="T3" fmla="*/ 2147483647 h 29"/>
              <a:gd name="T4" fmla="*/ 2147483647 w 22"/>
              <a:gd name="T5" fmla="*/ 2147483647 h 29"/>
              <a:gd name="T6" fmla="*/ 2147483647 w 22"/>
              <a:gd name="T7" fmla="*/ 2147483647 h 29"/>
              <a:gd name="T8" fmla="*/ 2147483647 w 22"/>
              <a:gd name="T9" fmla="*/ 2147483647 h 29"/>
              <a:gd name="T10" fmla="*/ 2147483647 w 22"/>
              <a:gd name="T11" fmla="*/ 2147483647 h 29"/>
              <a:gd name="T12" fmla="*/ 2147483647 w 22"/>
              <a:gd name="T13" fmla="*/ 2147483647 h 29"/>
              <a:gd name="T14" fmla="*/ 2147483647 w 22"/>
              <a:gd name="T15" fmla="*/ 2147483647 h 29"/>
              <a:gd name="T16" fmla="*/ 0 w 22"/>
              <a:gd name="T17" fmla="*/ 2147483647 h 29"/>
              <a:gd name="T18" fmla="*/ 0 w 22"/>
              <a:gd name="T19" fmla="*/ 2147483647 h 29"/>
              <a:gd name="T20" fmla="*/ 2147483647 w 22"/>
              <a:gd name="T21" fmla="*/ 2147483647 h 29"/>
              <a:gd name="T22" fmla="*/ 2147483647 w 22"/>
              <a:gd name="T23" fmla="*/ 0 h 29"/>
              <a:gd name="T24" fmla="*/ 2147483647 w 22"/>
              <a:gd name="T25" fmla="*/ 2147483647 h 29"/>
              <a:gd name="T26" fmla="*/ 2147483647 w 22"/>
              <a:gd name="T27" fmla="*/ 2147483647 h 29"/>
              <a:gd name="T28" fmla="*/ 2147483647 w 22"/>
              <a:gd name="T29" fmla="*/ 2147483647 h 29"/>
              <a:gd name="T30" fmla="*/ 2147483647 w 22"/>
              <a:gd name="T31" fmla="*/ 2147483647 h 29"/>
              <a:gd name="T32" fmla="*/ 2147483647 w 22"/>
              <a:gd name="T33" fmla="*/ 2147483647 h 29"/>
              <a:gd name="T34" fmla="*/ 2147483647 w 22"/>
              <a:gd name="T35" fmla="*/ 2147483647 h 29"/>
              <a:gd name="T36" fmla="*/ 2147483647 w 22"/>
              <a:gd name="T37" fmla="*/ 2147483647 h 29"/>
              <a:gd name="T38" fmla="*/ 2147483647 w 22"/>
              <a:gd name="T39" fmla="*/ 2147483647 h 29"/>
              <a:gd name="T40" fmla="*/ 2147483647 w 22"/>
              <a:gd name="T41" fmla="*/ 2147483647 h 29"/>
              <a:gd name="T42" fmla="*/ 2147483647 w 22"/>
              <a:gd name="T43" fmla="*/ 2147483647 h 29"/>
              <a:gd name="T44" fmla="*/ 2147483647 w 22"/>
              <a:gd name="T45" fmla="*/ 2147483647 h 29"/>
              <a:gd name="T46" fmla="*/ 2147483647 w 22"/>
              <a:gd name="T47" fmla="*/ 2147483647 h 29"/>
              <a:gd name="T48" fmla="*/ 2147483647 w 22"/>
              <a:gd name="T49" fmla="*/ 2147483647 h 29"/>
              <a:gd name="T50" fmla="*/ 2147483647 w 22"/>
              <a:gd name="T51" fmla="*/ 2147483647 h 29"/>
              <a:gd name="T52" fmla="*/ 2147483647 w 22"/>
              <a:gd name="T53" fmla="*/ 2147483647 h 29"/>
              <a:gd name="T54" fmla="*/ 2147483647 w 22"/>
              <a:gd name="T55" fmla="*/ 2147483647 h 29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22"/>
              <a:gd name="T85" fmla="*/ 0 h 29"/>
              <a:gd name="T86" fmla="*/ 22 w 22"/>
              <a:gd name="T87" fmla="*/ 29 h 29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22" h="29">
                <a:moveTo>
                  <a:pt x="6" y="29"/>
                </a:moveTo>
                <a:lnTo>
                  <a:pt x="6" y="26"/>
                </a:lnTo>
                <a:lnTo>
                  <a:pt x="4" y="23"/>
                </a:lnTo>
                <a:lnTo>
                  <a:pt x="2" y="19"/>
                </a:lnTo>
                <a:lnTo>
                  <a:pt x="2" y="17"/>
                </a:lnTo>
                <a:lnTo>
                  <a:pt x="4" y="15"/>
                </a:lnTo>
                <a:lnTo>
                  <a:pt x="3" y="13"/>
                </a:lnTo>
                <a:lnTo>
                  <a:pt x="1" y="11"/>
                </a:lnTo>
                <a:lnTo>
                  <a:pt x="0" y="8"/>
                </a:lnTo>
                <a:lnTo>
                  <a:pt x="0" y="5"/>
                </a:lnTo>
                <a:lnTo>
                  <a:pt x="1" y="2"/>
                </a:lnTo>
                <a:lnTo>
                  <a:pt x="3" y="0"/>
                </a:lnTo>
                <a:lnTo>
                  <a:pt x="5" y="1"/>
                </a:lnTo>
                <a:lnTo>
                  <a:pt x="8" y="5"/>
                </a:lnTo>
                <a:lnTo>
                  <a:pt x="10" y="4"/>
                </a:lnTo>
                <a:lnTo>
                  <a:pt x="13" y="3"/>
                </a:lnTo>
                <a:lnTo>
                  <a:pt x="13" y="6"/>
                </a:lnTo>
                <a:lnTo>
                  <a:pt x="12" y="9"/>
                </a:lnTo>
                <a:lnTo>
                  <a:pt x="12" y="11"/>
                </a:lnTo>
                <a:lnTo>
                  <a:pt x="15" y="13"/>
                </a:lnTo>
                <a:lnTo>
                  <a:pt x="18" y="16"/>
                </a:lnTo>
                <a:lnTo>
                  <a:pt x="20" y="20"/>
                </a:lnTo>
                <a:lnTo>
                  <a:pt x="22" y="23"/>
                </a:lnTo>
                <a:lnTo>
                  <a:pt x="19" y="25"/>
                </a:lnTo>
                <a:lnTo>
                  <a:pt x="16" y="27"/>
                </a:lnTo>
                <a:lnTo>
                  <a:pt x="12" y="27"/>
                </a:lnTo>
                <a:lnTo>
                  <a:pt x="10" y="27"/>
                </a:lnTo>
                <a:lnTo>
                  <a:pt x="6" y="29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44" name="Freeform 34"/>
          <p:cNvSpPr>
            <a:spLocks/>
          </p:cNvSpPr>
          <p:nvPr/>
        </p:nvSpPr>
        <p:spPr bwMode="auto">
          <a:xfrm>
            <a:off x="3174557" y="3092449"/>
            <a:ext cx="276225" cy="238125"/>
          </a:xfrm>
          <a:custGeom>
            <a:avLst/>
            <a:gdLst>
              <a:gd name="T0" fmla="*/ 2147483647 w 29"/>
              <a:gd name="T1" fmla="*/ 2147483647 h 25"/>
              <a:gd name="T2" fmla="*/ 2147483647 w 29"/>
              <a:gd name="T3" fmla="*/ 2147483647 h 25"/>
              <a:gd name="T4" fmla="*/ 2147483647 w 29"/>
              <a:gd name="T5" fmla="*/ 2147483647 h 25"/>
              <a:gd name="T6" fmla="*/ 2147483647 w 29"/>
              <a:gd name="T7" fmla="*/ 2147483647 h 25"/>
              <a:gd name="T8" fmla="*/ 0 w 29"/>
              <a:gd name="T9" fmla="*/ 2147483647 h 25"/>
              <a:gd name="T10" fmla="*/ 2147483647 w 29"/>
              <a:gd name="T11" fmla="*/ 2147483647 h 25"/>
              <a:gd name="T12" fmla="*/ 2147483647 w 29"/>
              <a:gd name="T13" fmla="*/ 2147483647 h 25"/>
              <a:gd name="T14" fmla="*/ 2147483647 w 29"/>
              <a:gd name="T15" fmla="*/ 2147483647 h 25"/>
              <a:gd name="T16" fmla="*/ 2147483647 w 29"/>
              <a:gd name="T17" fmla="*/ 2147483647 h 25"/>
              <a:gd name="T18" fmla="*/ 2147483647 w 29"/>
              <a:gd name="T19" fmla="*/ 2147483647 h 25"/>
              <a:gd name="T20" fmla="*/ 2147483647 w 29"/>
              <a:gd name="T21" fmla="*/ 2147483647 h 25"/>
              <a:gd name="T22" fmla="*/ 2147483647 w 29"/>
              <a:gd name="T23" fmla="*/ 2147483647 h 25"/>
              <a:gd name="T24" fmla="*/ 2147483647 w 29"/>
              <a:gd name="T25" fmla="*/ 2147483647 h 25"/>
              <a:gd name="T26" fmla="*/ 2147483647 w 29"/>
              <a:gd name="T27" fmla="*/ 2147483647 h 25"/>
              <a:gd name="T28" fmla="*/ 2147483647 w 29"/>
              <a:gd name="T29" fmla="*/ 0 h 25"/>
              <a:gd name="T30" fmla="*/ 2147483647 w 29"/>
              <a:gd name="T31" fmla="*/ 2147483647 h 25"/>
              <a:gd name="T32" fmla="*/ 2147483647 w 29"/>
              <a:gd name="T33" fmla="*/ 2147483647 h 25"/>
              <a:gd name="T34" fmla="*/ 2147483647 w 29"/>
              <a:gd name="T35" fmla="*/ 2147483647 h 25"/>
              <a:gd name="T36" fmla="*/ 2147483647 w 29"/>
              <a:gd name="T37" fmla="*/ 2147483647 h 25"/>
              <a:gd name="T38" fmla="*/ 2147483647 w 29"/>
              <a:gd name="T39" fmla="*/ 2147483647 h 25"/>
              <a:gd name="T40" fmla="*/ 2147483647 w 29"/>
              <a:gd name="T41" fmla="*/ 2147483647 h 25"/>
              <a:gd name="T42" fmla="*/ 2147483647 w 29"/>
              <a:gd name="T43" fmla="*/ 2147483647 h 25"/>
              <a:gd name="T44" fmla="*/ 2147483647 w 29"/>
              <a:gd name="T45" fmla="*/ 2147483647 h 25"/>
              <a:gd name="T46" fmla="*/ 2147483647 w 29"/>
              <a:gd name="T47" fmla="*/ 2147483647 h 25"/>
              <a:gd name="T48" fmla="*/ 2147483647 w 29"/>
              <a:gd name="T49" fmla="*/ 2147483647 h 25"/>
              <a:gd name="T50" fmla="*/ 2147483647 w 29"/>
              <a:gd name="T51" fmla="*/ 2147483647 h 25"/>
              <a:gd name="T52" fmla="*/ 2147483647 w 29"/>
              <a:gd name="T53" fmla="*/ 2147483647 h 25"/>
              <a:gd name="T54" fmla="*/ 2147483647 w 29"/>
              <a:gd name="T55" fmla="*/ 2147483647 h 25"/>
              <a:gd name="T56" fmla="*/ 2147483647 w 29"/>
              <a:gd name="T57" fmla="*/ 2147483647 h 25"/>
              <a:gd name="T58" fmla="*/ 2147483647 w 29"/>
              <a:gd name="T59" fmla="*/ 2147483647 h 25"/>
              <a:gd name="T60" fmla="*/ 2147483647 w 29"/>
              <a:gd name="T61" fmla="*/ 2147483647 h 25"/>
              <a:gd name="T62" fmla="*/ 2147483647 w 29"/>
              <a:gd name="T63" fmla="*/ 2147483647 h 25"/>
              <a:gd name="T64" fmla="*/ 2147483647 w 29"/>
              <a:gd name="T65" fmla="*/ 2147483647 h 25"/>
              <a:gd name="T66" fmla="*/ 2147483647 w 29"/>
              <a:gd name="T67" fmla="*/ 2147483647 h 25"/>
              <a:gd name="T68" fmla="*/ 2147483647 w 29"/>
              <a:gd name="T69" fmla="*/ 2147483647 h 25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9"/>
              <a:gd name="T106" fmla="*/ 0 h 25"/>
              <a:gd name="T107" fmla="*/ 29 w 29"/>
              <a:gd name="T108" fmla="*/ 25 h 25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9" h="25">
                <a:moveTo>
                  <a:pt x="10" y="23"/>
                </a:moveTo>
                <a:lnTo>
                  <a:pt x="7" y="24"/>
                </a:lnTo>
                <a:lnTo>
                  <a:pt x="5" y="25"/>
                </a:lnTo>
                <a:lnTo>
                  <a:pt x="2" y="21"/>
                </a:lnTo>
                <a:lnTo>
                  <a:pt x="0" y="20"/>
                </a:lnTo>
                <a:lnTo>
                  <a:pt x="1" y="18"/>
                </a:lnTo>
                <a:lnTo>
                  <a:pt x="1" y="17"/>
                </a:lnTo>
                <a:lnTo>
                  <a:pt x="5" y="17"/>
                </a:lnTo>
                <a:lnTo>
                  <a:pt x="7" y="14"/>
                </a:lnTo>
                <a:lnTo>
                  <a:pt x="8" y="11"/>
                </a:lnTo>
                <a:lnTo>
                  <a:pt x="8" y="7"/>
                </a:lnTo>
                <a:lnTo>
                  <a:pt x="8" y="4"/>
                </a:lnTo>
                <a:lnTo>
                  <a:pt x="11" y="4"/>
                </a:lnTo>
                <a:lnTo>
                  <a:pt x="13" y="3"/>
                </a:lnTo>
                <a:lnTo>
                  <a:pt x="16" y="0"/>
                </a:lnTo>
                <a:lnTo>
                  <a:pt x="20" y="1"/>
                </a:lnTo>
                <a:lnTo>
                  <a:pt x="21" y="3"/>
                </a:lnTo>
                <a:lnTo>
                  <a:pt x="22" y="5"/>
                </a:lnTo>
                <a:cubicBezTo>
                  <a:pt x="22" y="5"/>
                  <a:pt x="24" y="5"/>
                  <a:pt x="25" y="5"/>
                </a:cubicBezTo>
                <a:cubicBezTo>
                  <a:pt x="25" y="5"/>
                  <a:pt x="27" y="6"/>
                  <a:pt x="27" y="6"/>
                </a:cubicBezTo>
                <a:lnTo>
                  <a:pt x="27" y="7"/>
                </a:lnTo>
                <a:lnTo>
                  <a:pt x="28" y="10"/>
                </a:lnTo>
                <a:lnTo>
                  <a:pt x="27" y="12"/>
                </a:lnTo>
                <a:lnTo>
                  <a:pt x="27" y="14"/>
                </a:lnTo>
                <a:lnTo>
                  <a:pt x="28" y="15"/>
                </a:lnTo>
                <a:lnTo>
                  <a:pt x="29" y="17"/>
                </a:lnTo>
                <a:lnTo>
                  <a:pt x="28" y="18"/>
                </a:lnTo>
                <a:lnTo>
                  <a:pt x="26" y="20"/>
                </a:lnTo>
                <a:lnTo>
                  <a:pt x="23" y="20"/>
                </a:lnTo>
                <a:lnTo>
                  <a:pt x="21" y="22"/>
                </a:lnTo>
                <a:lnTo>
                  <a:pt x="20" y="23"/>
                </a:lnTo>
                <a:lnTo>
                  <a:pt x="18" y="24"/>
                </a:lnTo>
                <a:lnTo>
                  <a:pt x="15" y="23"/>
                </a:lnTo>
                <a:lnTo>
                  <a:pt x="13" y="22"/>
                </a:lnTo>
                <a:lnTo>
                  <a:pt x="10" y="23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45" name="Freeform 35"/>
          <p:cNvSpPr>
            <a:spLocks/>
          </p:cNvSpPr>
          <p:nvPr/>
        </p:nvSpPr>
        <p:spPr bwMode="auto">
          <a:xfrm>
            <a:off x="3260282" y="3301999"/>
            <a:ext cx="200025" cy="200025"/>
          </a:xfrm>
          <a:custGeom>
            <a:avLst/>
            <a:gdLst>
              <a:gd name="T0" fmla="*/ 2147483647 w 21"/>
              <a:gd name="T1" fmla="*/ 2147483647 h 21"/>
              <a:gd name="T2" fmla="*/ 2147483647 w 21"/>
              <a:gd name="T3" fmla="*/ 2147483647 h 21"/>
              <a:gd name="T4" fmla="*/ 2147483647 w 21"/>
              <a:gd name="T5" fmla="*/ 2147483647 h 21"/>
              <a:gd name="T6" fmla="*/ 2147483647 w 21"/>
              <a:gd name="T7" fmla="*/ 2147483647 h 21"/>
              <a:gd name="T8" fmla="*/ 0 w 21"/>
              <a:gd name="T9" fmla="*/ 2147483647 h 21"/>
              <a:gd name="T10" fmla="*/ 0 w 21"/>
              <a:gd name="T11" fmla="*/ 2147483647 h 21"/>
              <a:gd name="T12" fmla="*/ 2147483647 w 21"/>
              <a:gd name="T13" fmla="*/ 2147483647 h 21"/>
              <a:gd name="T14" fmla="*/ 2147483647 w 21"/>
              <a:gd name="T15" fmla="*/ 2147483647 h 21"/>
              <a:gd name="T16" fmla="*/ 2147483647 w 21"/>
              <a:gd name="T17" fmla="*/ 0 h 21"/>
              <a:gd name="T18" fmla="*/ 2147483647 w 21"/>
              <a:gd name="T19" fmla="*/ 2147483647 h 21"/>
              <a:gd name="T20" fmla="*/ 2147483647 w 21"/>
              <a:gd name="T21" fmla="*/ 2147483647 h 21"/>
              <a:gd name="T22" fmla="*/ 2147483647 w 21"/>
              <a:gd name="T23" fmla="*/ 2147483647 h 21"/>
              <a:gd name="T24" fmla="*/ 2147483647 w 21"/>
              <a:gd name="T25" fmla="*/ 2147483647 h 21"/>
              <a:gd name="T26" fmla="*/ 2147483647 w 21"/>
              <a:gd name="T27" fmla="*/ 2147483647 h 21"/>
              <a:gd name="T28" fmla="*/ 2147483647 w 21"/>
              <a:gd name="T29" fmla="*/ 2147483647 h 21"/>
              <a:gd name="T30" fmla="*/ 2147483647 w 21"/>
              <a:gd name="T31" fmla="*/ 2147483647 h 21"/>
              <a:gd name="T32" fmla="*/ 2147483647 w 21"/>
              <a:gd name="T33" fmla="*/ 2147483647 h 21"/>
              <a:gd name="T34" fmla="*/ 2147483647 w 21"/>
              <a:gd name="T35" fmla="*/ 2147483647 h 21"/>
              <a:gd name="T36" fmla="*/ 2147483647 w 21"/>
              <a:gd name="T37" fmla="*/ 2147483647 h 21"/>
              <a:gd name="T38" fmla="*/ 2147483647 w 21"/>
              <a:gd name="T39" fmla="*/ 2147483647 h 21"/>
              <a:gd name="T40" fmla="*/ 2147483647 w 21"/>
              <a:gd name="T41" fmla="*/ 2147483647 h 21"/>
              <a:gd name="T42" fmla="*/ 2147483647 w 21"/>
              <a:gd name="T43" fmla="*/ 2147483647 h 21"/>
              <a:gd name="T44" fmla="*/ 2147483647 w 21"/>
              <a:gd name="T45" fmla="*/ 2147483647 h 21"/>
              <a:gd name="T46" fmla="*/ 2147483647 w 21"/>
              <a:gd name="T47" fmla="*/ 2147483647 h 21"/>
              <a:gd name="T48" fmla="*/ 2147483647 w 21"/>
              <a:gd name="T49" fmla="*/ 2147483647 h 21"/>
              <a:gd name="T50" fmla="*/ 2147483647 w 21"/>
              <a:gd name="T51" fmla="*/ 2147483647 h 2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21"/>
              <a:gd name="T79" fmla="*/ 0 h 21"/>
              <a:gd name="T80" fmla="*/ 21 w 21"/>
              <a:gd name="T81" fmla="*/ 21 h 21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21" h="21">
                <a:moveTo>
                  <a:pt x="10" y="21"/>
                </a:moveTo>
                <a:lnTo>
                  <a:pt x="8" y="18"/>
                </a:lnTo>
                <a:lnTo>
                  <a:pt x="6" y="14"/>
                </a:lnTo>
                <a:lnTo>
                  <a:pt x="3" y="11"/>
                </a:lnTo>
                <a:lnTo>
                  <a:pt x="0" y="9"/>
                </a:lnTo>
                <a:lnTo>
                  <a:pt x="0" y="7"/>
                </a:lnTo>
                <a:lnTo>
                  <a:pt x="1" y="4"/>
                </a:lnTo>
                <a:lnTo>
                  <a:pt x="1" y="1"/>
                </a:lnTo>
                <a:lnTo>
                  <a:pt x="4" y="0"/>
                </a:lnTo>
                <a:lnTo>
                  <a:pt x="6" y="1"/>
                </a:lnTo>
                <a:lnTo>
                  <a:pt x="9" y="2"/>
                </a:lnTo>
                <a:lnTo>
                  <a:pt x="12" y="5"/>
                </a:lnTo>
                <a:lnTo>
                  <a:pt x="17" y="7"/>
                </a:lnTo>
                <a:lnTo>
                  <a:pt x="20" y="8"/>
                </a:lnTo>
                <a:lnTo>
                  <a:pt x="21" y="10"/>
                </a:lnTo>
                <a:lnTo>
                  <a:pt x="21" y="11"/>
                </a:lnTo>
                <a:lnTo>
                  <a:pt x="21" y="13"/>
                </a:lnTo>
                <a:lnTo>
                  <a:pt x="21" y="15"/>
                </a:lnTo>
                <a:lnTo>
                  <a:pt x="21" y="18"/>
                </a:lnTo>
                <a:lnTo>
                  <a:pt x="19" y="19"/>
                </a:lnTo>
                <a:lnTo>
                  <a:pt x="17" y="19"/>
                </a:lnTo>
                <a:lnTo>
                  <a:pt x="16" y="19"/>
                </a:lnTo>
                <a:lnTo>
                  <a:pt x="15" y="18"/>
                </a:lnTo>
                <a:lnTo>
                  <a:pt x="13" y="19"/>
                </a:lnTo>
                <a:lnTo>
                  <a:pt x="13" y="21"/>
                </a:lnTo>
                <a:lnTo>
                  <a:pt x="10" y="21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46" name="Freeform 36"/>
          <p:cNvSpPr>
            <a:spLocks/>
          </p:cNvSpPr>
          <p:nvPr/>
        </p:nvSpPr>
        <p:spPr bwMode="auto">
          <a:xfrm>
            <a:off x="3346007" y="3254374"/>
            <a:ext cx="466725" cy="266700"/>
          </a:xfrm>
          <a:custGeom>
            <a:avLst/>
            <a:gdLst>
              <a:gd name="T0" fmla="*/ 2147483647 w 49"/>
              <a:gd name="T1" fmla="*/ 2147483647 h 28"/>
              <a:gd name="T2" fmla="*/ 2147483647 w 49"/>
              <a:gd name="T3" fmla="*/ 2147483647 h 28"/>
              <a:gd name="T4" fmla="*/ 2147483647 w 49"/>
              <a:gd name="T5" fmla="*/ 2147483647 h 28"/>
              <a:gd name="T6" fmla="*/ 2147483647 w 49"/>
              <a:gd name="T7" fmla="*/ 2147483647 h 28"/>
              <a:gd name="T8" fmla="*/ 2147483647 w 49"/>
              <a:gd name="T9" fmla="*/ 2147483647 h 28"/>
              <a:gd name="T10" fmla="*/ 2147483647 w 49"/>
              <a:gd name="T11" fmla="*/ 2147483647 h 28"/>
              <a:gd name="T12" fmla="*/ 2147483647 w 49"/>
              <a:gd name="T13" fmla="*/ 2147483647 h 28"/>
              <a:gd name="T14" fmla="*/ 2147483647 w 49"/>
              <a:gd name="T15" fmla="*/ 2147483647 h 28"/>
              <a:gd name="T16" fmla="*/ 0 w 49"/>
              <a:gd name="T17" fmla="*/ 2147483647 h 28"/>
              <a:gd name="T18" fmla="*/ 2147483647 w 49"/>
              <a:gd name="T19" fmla="*/ 2147483647 h 28"/>
              <a:gd name="T20" fmla="*/ 2147483647 w 49"/>
              <a:gd name="T21" fmla="*/ 2147483647 h 28"/>
              <a:gd name="T22" fmla="*/ 2147483647 w 49"/>
              <a:gd name="T23" fmla="*/ 2147483647 h 28"/>
              <a:gd name="T24" fmla="*/ 2147483647 w 49"/>
              <a:gd name="T25" fmla="*/ 2147483647 h 28"/>
              <a:gd name="T26" fmla="*/ 2147483647 w 49"/>
              <a:gd name="T27" fmla="*/ 2147483647 h 28"/>
              <a:gd name="T28" fmla="*/ 2147483647 w 49"/>
              <a:gd name="T29" fmla="*/ 0 h 28"/>
              <a:gd name="T30" fmla="*/ 2147483647 w 49"/>
              <a:gd name="T31" fmla="*/ 0 h 28"/>
              <a:gd name="T32" fmla="*/ 2147483647 w 49"/>
              <a:gd name="T33" fmla="*/ 0 h 28"/>
              <a:gd name="T34" fmla="*/ 2147483647 w 49"/>
              <a:gd name="T35" fmla="*/ 2147483647 h 28"/>
              <a:gd name="T36" fmla="*/ 2147483647 w 49"/>
              <a:gd name="T37" fmla="*/ 2147483647 h 28"/>
              <a:gd name="T38" fmla="*/ 2147483647 w 49"/>
              <a:gd name="T39" fmla="*/ 2147483647 h 28"/>
              <a:gd name="T40" fmla="*/ 2147483647 w 49"/>
              <a:gd name="T41" fmla="*/ 2147483647 h 28"/>
              <a:gd name="T42" fmla="*/ 2147483647 w 49"/>
              <a:gd name="T43" fmla="*/ 2147483647 h 28"/>
              <a:gd name="T44" fmla="*/ 2147483647 w 49"/>
              <a:gd name="T45" fmla="*/ 2147483647 h 28"/>
              <a:gd name="T46" fmla="*/ 2147483647 w 49"/>
              <a:gd name="T47" fmla="*/ 2147483647 h 28"/>
              <a:gd name="T48" fmla="*/ 2147483647 w 49"/>
              <a:gd name="T49" fmla="*/ 2147483647 h 28"/>
              <a:gd name="T50" fmla="*/ 2147483647 w 49"/>
              <a:gd name="T51" fmla="*/ 2147483647 h 28"/>
              <a:gd name="T52" fmla="*/ 2147483647 w 49"/>
              <a:gd name="T53" fmla="*/ 2147483647 h 28"/>
              <a:gd name="T54" fmla="*/ 2147483647 w 49"/>
              <a:gd name="T55" fmla="*/ 2147483647 h 28"/>
              <a:gd name="T56" fmla="*/ 2147483647 w 49"/>
              <a:gd name="T57" fmla="*/ 2147483647 h 28"/>
              <a:gd name="T58" fmla="*/ 2147483647 w 49"/>
              <a:gd name="T59" fmla="*/ 2147483647 h 28"/>
              <a:gd name="T60" fmla="*/ 2147483647 w 49"/>
              <a:gd name="T61" fmla="*/ 2147483647 h 28"/>
              <a:gd name="T62" fmla="*/ 2147483647 w 49"/>
              <a:gd name="T63" fmla="*/ 2147483647 h 28"/>
              <a:gd name="T64" fmla="*/ 2147483647 w 49"/>
              <a:gd name="T65" fmla="*/ 2147483647 h 28"/>
              <a:gd name="T66" fmla="*/ 2147483647 w 49"/>
              <a:gd name="T67" fmla="*/ 2147483647 h 28"/>
              <a:gd name="T68" fmla="*/ 2147483647 w 49"/>
              <a:gd name="T69" fmla="*/ 2147483647 h 28"/>
              <a:gd name="T70" fmla="*/ 2147483647 w 49"/>
              <a:gd name="T71" fmla="*/ 2147483647 h 28"/>
              <a:gd name="T72" fmla="*/ 2147483647 w 49"/>
              <a:gd name="T73" fmla="*/ 2147483647 h 28"/>
              <a:gd name="T74" fmla="*/ 2147483647 w 49"/>
              <a:gd name="T75" fmla="*/ 2147483647 h 28"/>
              <a:gd name="T76" fmla="*/ 2147483647 w 49"/>
              <a:gd name="T77" fmla="*/ 2147483647 h 28"/>
              <a:gd name="T78" fmla="*/ 2147483647 w 49"/>
              <a:gd name="T79" fmla="*/ 2147483647 h 28"/>
              <a:gd name="T80" fmla="*/ 2147483647 w 49"/>
              <a:gd name="T81" fmla="*/ 2147483647 h 28"/>
              <a:gd name="T82" fmla="*/ 2147483647 w 49"/>
              <a:gd name="T83" fmla="*/ 2147483647 h 28"/>
              <a:gd name="T84" fmla="*/ 2147483647 w 49"/>
              <a:gd name="T85" fmla="*/ 2147483647 h 28"/>
              <a:gd name="T86" fmla="*/ 2147483647 w 49"/>
              <a:gd name="T87" fmla="*/ 2147483647 h 28"/>
              <a:gd name="T88" fmla="*/ 2147483647 w 49"/>
              <a:gd name="T89" fmla="*/ 2147483647 h 28"/>
              <a:gd name="T90" fmla="*/ 2147483647 w 49"/>
              <a:gd name="T91" fmla="*/ 2147483647 h 28"/>
              <a:gd name="T92" fmla="*/ 2147483647 w 49"/>
              <a:gd name="T93" fmla="*/ 2147483647 h 28"/>
              <a:gd name="T94" fmla="*/ 2147483647 w 49"/>
              <a:gd name="T95" fmla="*/ 2147483647 h 28"/>
              <a:gd name="T96" fmla="*/ 2147483647 w 49"/>
              <a:gd name="T97" fmla="*/ 2147483647 h 28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49"/>
              <a:gd name="T148" fmla="*/ 0 h 28"/>
              <a:gd name="T149" fmla="*/ 49 w 49"/>
              <a:gd name="T150" fmla="*/ 28 h 28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49" h="28">
                <a:moveTo>
                  <a:pt x="12" y="23"/>
                </a:moveTo>
                <a:lnTo>
                  <a:pt x="12" y="20"/>
                </a:lnTo>
                <a:lnTo>
                  <a:pt x="12" y="18"/>
                </a:lnTo>
                <a:lnTo>
                  <a:pt x="12" y="16"/>
                </a:lnTo>
                <a:lnTo>
                  <a:pt x="12" y="15"/>
                </a:lnTo>
                <a:lnTo>
                  <a:pt x="11" y="13"/>
                </a:lnTo>
                <a:lnTo>
                  <a:pt x="8" y="12"/>
                </a:lnTo>
                <a:lnTo>
                  <a:pt x="3" y="10"/>
                </a:lnTo>
                <a:lnTo>
                  <a:pt x="0" y="7"/>
                </a:lnTo>
                <a:lnTo>
                  <a:pt x="2" y="6"/>
                </a:lnTo>
                <a:lnTo>
                  <a:pt x="3" y="5"/>
                </a:lnTo>
                <a:lnTo>
                  <a:pt x="5" y="3"/>
                </a:lnTo>
                <a:lnTo>
                  <a:pt x="8" y="3"/>
                </a:lnTo>
                <a:lnTo>
                  <a:pt x="10" y="1"/>
                </a:lnTo>
                <a:lnTo>
                  <a:pt x="11" y="0"/>
                </a:lnTo>
                <a:lnTo>
                  <a:pt x="14" y="0"/>
                </a:lnTo>
                <a:lnTo>
                  <a:pt x="19" y="0"/>
                </a:lnTo>
                <a:lnTo>
                  <a:pt x="21" y="1"/>
                </a:lnTo>
                <a:lnTo>
                  <a:pt x="23" y="1"/>
                </a:lnTo>
                <a:lnTo>
                  <a:pt x="24" y="3"/>
                </a:lnTo>
                <a:lnTo>
                  <a:pt x="27" y="2"/>
                </a:lnTo>
                <a:lnTo>
                  <a:pt x="28" y="4"/>
                </a:lnTo>
                <a:lnTo>
                  <a:pt x="30" y="7"/>
                </a:lnTo>
                <a:lnTo>
                  <a:pt x="32" y="10"/>
                </a:lnTo>
                <a:lnTo>
                  <a:pt x="35" y="12"/>
                </a:lnTo>
                <a:lnTo>
                  <a:pt x="37" y="14"/>
                </a:lnTo>
                <a:lnTo>
                  <a:pt x="38" y="15"/>
                </a:lnTo>
                <a:lnTo>
                  <a:pt x="41" y="15"/>
                </a:lnTo>
                <a:lnTo>
                  <a:pt x="44" y="16"/>
                </a:lnTo>
                <a:lnTo>
                  <a:pt x="48" y="16"/>
                </a:lnTo>
                <a:lnTo>
                  <a:pt x="49" y="16"/>
                </a:lnTo>
                <a:lnTo>
                  <a:pt x="47" y="18"/>
                </a:lnTo>
                <a:lnTo>
                  <a:pt x="46" y="20"/>
                </a:lnTo>
                <a:lnTo>
                  <a:pt x="46" y="22"/>
                </a:lnTo>
                <a:lnTo>
                  <a:pt x="46" y="25"/>
                </a:lnTo>
                <a:lnTo>
                  <a:pt x="42" y="25"/>
                </a:lnTo>
                <a:lnTo>
                  <a:pt x="39" y="25"/>
                </a:lnTo>
                <a:lnTo>
                  <a:pt x="36" y="25"/>
                </a:lnTo>
                <a:lnTo>
                  <a:pt x="35" y="27"/>
                </a:lnTo>
                <a:lnTo>
                  <a:pt x="33" y="28"/>
                </a:lnTo>
                <a:lnTo>
                  <a:pt x="31" y="28"/>
                </a:lnTo>
                <a:lnTo>
                  <a:pt x="28" y="26"/>
                </a:lnTo>
                <a:lnTo>
                  <a:pt x="27" y="24"/>
                </a:lnTo>
                <a:lnTo>
                  <a:pt x="27" y="23"/>
                </a:lnTo>
                <a:lnTo>
                  <a:pt x="24" y="23"/>
                </a:lnTo>
                <a:lnTo>
                  <a:pt x="22" y="24"/>
                </a:lnTo>
                <a:lnTo>
                  <a:pt x="18" y="23"/>
                </a:lnTo>
                <a:lnTo>
                  <a:pt x="14" y="24"/>
                </a:lnTo>
                <a:lnTo>
                  <a:pt x="12" y="23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47" name="Freeform 37"/>
          <p:cNvSpPr>
            <a:spLocks/>
          </p:cNvSpPr>
          <p:nvPr/>
        </p:nvSpPr>
        <p:spPr bwMode="auto">
          <a:xfrm>
            <a:off x="3145982" y="3606799"/>
            <a:ext cx="257175" cy="247650"/>
          </a:xfrm>
          <a:custGeom>
            <a:avLst/>
            <a:gdLst>
              <a:gd name="T0" fmla="*/ 2147483647 w 27"/>
              <a:gd name="T1" fmla="*/ 2147483647 h 26"/>
              <a:gd name="T2" fmla="*/ 2147483647 w 27"/>
              <a:gd name="T3" fmla="*/ 2147483647 h 26"/>
              <a:gd name="T4" fmla="*/ 2147483647 w 27"/>
              <a:gd name="T5" fmla="*/ 2147483647 h 26"/>
              <a:gd name="T6" fmla="*/ 2147483647 w 27"/>
              <a:gd name="T7" fmla="*/ 2147483647 h 26"/>
              <a:gd name="T8" fmla="*/ 2147483647 w 27"/>
              <a:gd name="T9" fmla="*/ 2147483647 h 26"/>
              <a:gd name="T10" fmla="*/ 2147483647 w 27"/>
              <a:gd name="T11" fmla="*/ 2147483647 h 26"/>
              <a:gd name="T12" fmla="*/ 2147483647 w 27"/>
              <a:gd name="T13" fmla="*/ 2147483647 h 26"/>
              <a:gd name="T14" fmla="*/ 2147483647 w 27"/>
              <a:gd name="T15" fmla="*/ 2147483647 h 26"/>
              <a:gd name="T16" fmla="*/ 2147483647 w 27"/>
              <a:gd name="T17" fmla="*/ 2147483647 h 26"/>
              <a:gd name="T18" fmla="*/ 2147483647 w 27"/>
              <a:gd name="T19" fmla="*/ 2147483647 h 26"/>
              <a:gd name="T20" fmla="*/ 2147483647 w 27"/>
              <a:gd name="T21" fmla="*/ 2147483647 h 26"/>
              <a:gd name="T22" fmla="*/ 2147483647 w 27"/>
              <a:gd name="T23" fmla="*/ 2147483647 h 26"/>
              <a:gd name="T24" fmla="*/ 2147483647 w 27"/>
              <a:gd name="T25" fmla="*/ 2147483647 h 26"/>
              <a:gd name="T26" fmla="*/ 2147483647 w 27"/>
              <a:gd name="T27" fmla="*/ 2147483647 h 26"/>
              <a:gd name="T28" fmla="*/ 0 w 27"/>
              <a:gd name="T29" fmla="*/ 2147483647 h 26"/>
              <a:gd name="T30" fmla="*/ 0 w 27"/>
              <a:gd name="T31" fmla="*/ 2147483647 h 26"/>
              <a:gd name="T32" fmla="*/ 0 w 27"/>
              <a:gd name="T33" fmla="*/ 2147483647 h 26"/>
              <a:gd name="T34" fmla="*/ 2147483647 w 27"/>
              <a:gd name="T35" fmla="*/ 2147483647 h 26"/>
              <a:gd name="T36" fmla="*/ 2147483647 w 27"/>
              <a:gd name="T37" fmla="*/ 2147483647 h 26"/>
              <a:gd name="T38" fmla="*/ 2147483647 w 27"/>
              <a:gd name="T39" fmla="*/ 2147483647 h 26"/>
              <a:gd name="T40" fmla="*/ 2147483647 w 27"/>
              <a:gd name="T41" fmla="*/ 0 h 26"/>
              <a:gd name="T42" fmla="*/ 2147483647 w 27"/>
              <a:gd name="T43" fmla="*/ 2147483647 h 26"/>
              <a:gd name="T44" fmla="*/ 2147483647 w 27"/>
              <a:gd name="T45" fmla="*/ 2147483647 h 26"/>
              <a:gd name="T46" fmla="*/ 2147483647 w 27"/>
              <a:gd name="T47" fmla="*/ 2147483647 h 26"/>
              <a:gd name="T48" fmla="*/ 2147483647 w 27"/>
              <a:gd name="T49" fmla="*/ 2147483647 h 26"/>
              <a:gd name="T50" fmla="*/ 2147483647 w 27"/>
              <a:gd name="T51" fmla="*/ 2147483647 h 26"/>
              <a:gd name="T52" fmla="*/ 2147483647 w 27"/>
              <a:gd name="T53" fmla="*/ 2147483647 h 26"/>
              <a:gd name="T54" fmla="*/ 2147483647 w 27"/>
              <a:gd name="T55" fmla="*/ 2147483647 h 26"/>
              <a:gd name="T56" fmla="*/ 2147483647 w 27"/>
              <a:gd name="T57" fmla="*/ 2147483647 h 26"/>
              <a:gd name="T58" fmla="*/ 2147483647 w 27"/>
              <a:gd name="T59" fmla="*/ 2147483647 h 26"/>
              <a:gd name="T60" fmla="*/ 2147483647 w 27"/>
              <a:gd name="T61" fmla="*/ 2147483647 h 26"/>
              <a:gd name="T62" fmla="*/ 2147483647 w 27"/>
              <a:gd name="T63" fmla="*/ 2147483647 h 26"/>
              <a:gd name="T64" fmla="*/ 2147483647 w 27"/>
              <a:gd name="T65" fmla="*/ 2147483647 h 26"/>
              <a:gd name="T66" fmla="*/ 2147483647 w 27"/>
              <a:gd name="T67" fmla="*/ 2147483647 h 26"/>
              <a:gd name="T68" fmla="*/ 2147483647 w 27"/>
              <a:gd name="T69" fmla="*/ 2147483647 h 26"/>
              <a:gd name="T70" fmla="*/ 2147483647 w 27"/>
              <a:gd name="T71" fmla="*/ 2147483647 h 26"/>
              <a:gd name="T72" fmla="*/ 2147483647 w 27"/>
              <a:gd name="T73" fmla="*/ 2147483647 h 26"/>
              <a:gd name="T74" fmla="*/ 2147483647 w 27"/>
              <a:gd name="T75" fmla="*/ 2147483647 h 26"/>
              <a:gd name="T76" fmla="*/ 2147483647 w 27"/>
              <a:gd name="T77" fmla="*/ 2147483647 h 26"/>
              <a:gd name="T78" fmla="*/ 2147483647 w 27"/>
              <a:gd name="T79" fmla="*/ 2147483647 h 26"/>
              <a:gd name="T80" fmla="*/ 2147483647 w 27"/>
              <a:gd name="T81" fmla="*/ 2147483647 h 2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7"/>
              <a:gd name="T124" fmla="*/ 0 h 26"/>
              <a:gd name="T125" fmla="*/ 27 w 27"/>
              <a:gd name="T126" fmla="*/ 26 h 2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7" h="26">
                <a:moveTo>
                  <a:pt x="17" y="24"/>
                </a:moveTo>
                <a:lnTo>
                  <a:pt x="15" y="24"/>
                </a:lnTo>
                <a:lnTo>
                  <a:pt x="14" y="22"/>
                </a:lnTo>
                <a:lnTo>
                  <a:pt x="13" y="21"/>
                </a:lnTo>
                <a:lnTo>
                  <a:pt x="11" y="21"/>
                </a:lnTo>
                <a:lnTo>
                  <a:pt x="9" y="20"/>
                </a:lnTo>
                <a:lnTo>
                  <a:pt x="9" y="21"/>
                </a:lnTo>
                <a:lnTo>
                  <a:pt x="7" y="21"/>
                </a:lnTo>
                <a:lnTo>
                  <a:pt x="7" y="19"/>
                </a:lnTo>
                <a:lnTo>
                  <a:pt x="6" y="18"/>
                </a:lnTo>
                <a:lnTo>
                  <a:pt x="6" y="16"/>
                </a:lnTo>
                <a:lnTo>
                  <a:pt x="6" y="14"/>
                </a:lnTo>
                <a:lnTo>
                  <a:pt x="5" y="13"/>
                </a:lnTo>
                <a:lnTo>
                  <a:pt x="2" y="13"/>
                </a:lnTo>
                <a:lnTo>
                  <a:pt x="0" y="11"/>
                </a:lnTo>
                <a:lnTo>
                  <a:pt x="0" y="9"/>
                </a:lnTo>
                <a:lnTo>
                  <a:pt x="0" y="7"/>
                </a:lnTo>
                <a:lnTo>
                  <a:pt x="2" y="6"/>
                </a:lnTo>
                <a:lnTo>
                  <a:pt x="4" y="4"/>
                </a:lnTo>
                <a:lnTo>
                  <a:pt x="6" y="2"/>
                </a:lnTo>
                <a:lnTo>
                  <a:pt x="8" y="0"/>
                </a:lnTo>
                <a:lnTo>
                  <a:pt x="10" y="3"/>
                </a:lnTo>
                <a:lnTo>
                  <a:pt x="12" y="5"/>
                </a:lnTo>
                <a:lnTo>
                  <a:pt x="15" y="6"/>
                </a:lnTo>
                <a:lnTo>
                  <a:pt x="14" y="13"/>
                </a:lnTo>
                <a:lnTo>
                  <a:pt x="17" y="16"/>
                </a:lnTo>
                <a:lnTo>
                  <a:pt x="18" y="16"/>
                </a:lnTo>
                <a:cubicBezTo>
                  <a:pt x="18" y="16"/>
                  <a:pt x="18" y="15"/>
                  <a:pt x="18" y="15"/>
                </a:cubicBezTo>
                <a:cubicBezTo>
                  <a:pt x="19" y="15"/>
                  <a:pt x="22" y="15"/>
                  <a:pt x="22" y="15"/>
                </a:cubicBezTo>
                <a:lnTo>
                  <a:pt x="23" y="14"/>
                </a:lnTo>
                <a:lnTo>
                  <a:pt x="25" y="14"/>
                </a:lnTo>
                <a:lnTo>
                  <a:pt x="25" y="17"/>
                </a:lnTo>
                <a:lnTo>
                  <a:pt x="27" y="17"/>
                </a:lnTo>
                <a:lnTo>
                  <a:pt x="27" y="18"/>
                </a:lnTo>
                <a:lnTo>
                  <a:pt x="27" y="20"/>
                </a:lnTo>
                <a:lnTo>
                  <a:pt x="26" y="21"/>
                </a:lnTo>
                <a:lnTo>
                  <a:pt x="25" y="22"/>
                </a:lnTo>
                <a:lnTo>
                  <a:pt x="24" y="23"/>
                </a:lnTo>
                <a:lnTo>
                  <a:pt x="24" y="26"/>
                </a:lnTo>
                <a:lnTo>
                  <a:pt x="21" y="26"/>
                </a:lnTo>
                <a:lnTo>
                  <a:pt x="17" y="24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48" name="Freeform 38"/>
          <p:cNvSpPr>
            <a:spLocks/>
          </p:cNvSpPr>
          <p:nvPr/>
        </p:nvSpPr>
        <p:spPr bwMode="auto">
          <a:xfrm>
            <a:off x="3203132" y="3473449"/>
            <a:ext cx="504825" cy="304800"/>
          </a:xfrm>
          <a:custGeom>
            <a:avLst/>
            <a:gdLst>
              <a:gd name="T0" fmla="*/ 2147483647 w 53"/>
              <a:gd name="T1" fmla="*/ 2147483647 h 32"/>
              <a:gd name="T2" fmla="*/ 2147483647 w 53"/>
              <a:gd name="T3" fmla="*/ 2147483647 h 32"/>
              <a:gd name="T4" fmla="*/ 2147483647 w 53"/>
              <a:gd name="T5" fmla="*/ 2147483647 h 32"/>
              <a:gd name="T6" fmla="*/ 2147483647 w 53"/>
              <a:gd name="T7" fmla="*/ 2147483647 h 32"/>
              <a:gd name="T8" fmla="*/ 2147483647 w 53"/>
              <a:gd name="T9" fmla="*/ 0 h 32"/>
              <a:gd name="T10" fmla="*/ 2147483647 w 53"/>
              <a:gd name="T11" fmla="*/ 0 h 32"/>
              <a:gd name="T12" fmla="*/ 2147483647 w 53"/>
              <a:gd name="T13" fmla="*/ 2147483647 h 32"/>
              <a:gd name="T14" fmla="*/ 2147483647 w 53"/>
              <a:gd name="T15" fmla="*/ 0 h 32"/>
              <a:gd name="T16" fmla="*/ 2147483647 w 53"/>
              <a:gd name="T17" fmla="*/ 2147483647 h 32"/>
              <a:gd name="T18" fmla="*/ 2147483647 w 53"/>
              <a:gd name="T19" fmla="*/ 0 h 32"/>
              <a:gd name="T20" fmla="*/ 2147483647 w 53"/>
              <a:gd name="T21" fmla="*/ 2147483647 h 32"/>
              <a:gd name="T22" fmla="*/ 2147483647 w 53"/>
              <a:gd name="T23" fmla="*/ 2147483647 h 32"/>
              <a:gd name="T24" fmla="*/ 2147483647 w 53"/>
              <a:gd name="T25" fmla="*/ 2147483647 h 32"/>
              <a:gd name="T26" fmla="*/ 2147483647 w 53"/>
              <a:gd name="T27" fmla="*/ 0 h 32"/>
              <a:gd name="T28" fmla="*/ 2147483647 w 53"/>
              <a:gd name="T29" fmla="*/ 2147483647 h 32"/>
              <a:gd name="T30" fmla="*/ 2147483647 w 53"/>
              <a:gd name="T31" fmla="*/ 2147483647 h 32"/>
              <a:gd name="T32" fmla="*/ 2147483647 w 53"/>
              <a:gd name="T33" fmla="*/ 2147483647 h 32"/>
              <a:gd name="T34" fmla="*/ 2147483647 w 53"/>
              <a:gd name="T35" fmla="*/ 2147483647 h 32"/>
              <a:gd name="T36" fmla="*/ 2147483647 w 53"/>
              <a:gd name="T37" fmla="*/ 2147483647 h 32"/>
              <a:gd name="T38" fmla="*/ 2147483647 w 53"/>
              <a:gd name="T39" fmla="*/ 2147483647 h 32"/>
              <a:gd name="T40" fmla="*/ 2147483647 w 53"/>
              <a:gd name="T41" fmla="*/ 2147483647 h 32"/>
              <a:gd name="T42" fmla="*/ 0 w 53"/>
              <a:gd name="T43" fmla="*/ 2147483647 h 32"/>
              <a:gd name="T44" fmla="*/ 2147483647 w 53"/>
              <a:gd name="T45" fmla="*/ 2147483647 h 32"/>
              <a:gd name="T46" fmla="*/ 2147483647 w 53"/>
              <a:gd name="T47" fmla="*/ 2147483647 h 32"/>
              <a:gd name="T48" fmla="*/ 2147483647 w 53"/>
              <a:gd name="T49" fmla="*/ 2147483647 h 32"/>
              <a:gd name="T50" fmla="*/ 2147483647 w 53"/>
              <a:gd name="T51" fmla="*/ 2147483647 h 32"/>
              <a:gd name="T52" fmla="*/ 2147483647 w 53"/>
              <a:gd name="T53" fmla="*/ 2147483647 h 32"/>
              <a:gd name="T54" fmla="*/ 2147483647 w 53"/>
              <a:gd name="T55" fmla="*/ 2147483647 h 32"/>
              <a:gd name="T56" fmla="*/ 2147483647 w 53"/>
              <a:gd name="T57" fmla="*/ 2147483647 h 32"/>
              <a:gd name="T58" fmla="*/ 2147483647 w 53"/>
              <a:gd name="T59" fmla="*/ 2147483647 h 32"/>
              <a:gd name="T60" fmla="*/ 2147483647 w 53"/>
              <a:gd name="T61" fmla="*/ 2147483647 h 32"/>
              <a:gd name="T62" fmla="*/ 2147483647 w 53"/>
              <a:gd name="T63" fmla="*/ 2147483647 h 32"/>
              <a:gd name="T64" fmla="*/ 2147483647 w 53"/>
              <a:gd name="T65" fmla="*/ 2147483647 h 32"/>
              <a:gd name="T66" fmla="*/ 2147483647 w 53"/>
              <a:gd name="T67" fmla="*/ 2147483647 h 32"/>
              <a:gd name="T68" fmla="*/ 2147483647 w 53"/>
              <a:gd name="T69" fmla="*/ 2147483647 h 32"/>
              <a:gd name="T70" fmla="*/ 2147483647 w 53"/>
              <a:gd name="T71" fmla="*/ 2147483647 h 32"/>
              <a:gd name="T72" fmla="*/ 2147483647 w 53"/>
              <a:gd name="T73" fmla="*/ 2147483647 h 32"/>
              <a:gd name="T74" fmla="*/ 2147483647 w 53"/>
              <a:gd name="T75" fmla="*/ 2147483647 h 32"/>
              <a:gd name="T76" fmla="*/ 2147483647 w 53"/>
              <a:gd name="T77" fmla="*/ 2147483647 h 32"/>
              <a:gd name="T78" fmla="*/ 2147483647 w 53"/>
              <a:gd name="T79" fmla="*/ 2147483647 h 32"/>
              <a:gd name="T80" fmla="*/ 2147483647 w 53"/>
              <a:gd name="T81" fmla="*/ 2147483647 h 32"/>
              <a:gd name="T82" fmla="*/ 2147483647 w 53"/>
              <a:gd name="T83" fmla="*/ 2147483647 h 32"/>
              <a:gd name="T84" fmla="*/ 2147483647 w 53"/>
              <a:gd name="T85" fmla="*/ 2147483647 h 32"/>
              <a:gd name="T86" fmla="*/ 2147483647 w 53"/>
              <a:gd name="T87" fmla="*/ 2147483647 h 32"/>
              <a:gd name="T88" fmla="*/ 2147483647 w 53"/>
              <a:gd name="T89" fmla="*/ 2147483647 h 32"/>
              <a:gd name="T90" fmla="*/ 2147483647 w 53"/>
              <a:gd name="T91" fmla="*/ 2147483647 h 32"/>
              <a:gd name="T92" fmla="*/ 2147483647 w 53"/>
              <a:gd name="T93" fmla="*/ 2147483647 h 32"/>
              <a:gd name="T94" fmla="*/ 2147483647 w 53"/>
              <a:gd name="T95" fmla="*/ 2147483647 h 32"/>
              <a:gd name="T96" fmla="*/ 2147483647 w 53"/>
              <a:gd name="T97" fmla="*/ 2147483647 h 32"/>
              <a:gd name="T98" fmla="*/ 2147483647 w 53"/>
              <a:gd name="T99" fmla="*/ 2147483647 h 32"/>
              <a:gd name="T100" fmla="*/ 2147483647 w 53"/>
              <a:gd name="T101" fmla="*/ 2147483647 h 32"/>
              <a:gd name="T102" fmla="*/ 2147483647 w 53"/>
              <a:gd name="T103" fmla="*/ 2147483647 h 32"/>
              <a:gd name="T104" fmla="*/ 2147483647 w 53"/>
              <a:gd name="T105" fmla="*/ 2147483647 h 32"/>
              <a:gd name="T106" fmla="*/ 2147483647 w 53"/>
              <a:gd name="T107" fmla="*/ 2147483647 h 32"/>
              <a:gd name="T108" fmla="*/ 2147483647 w 53"/>
              <a:gd name="T109" fmla="*/ 2147483647 h 32"/>
              <a:gd name="T110" fmla="*/ 2147483647 w 53"/>
              <a:gd name="T111" fmla="*/ 2147483647 h 32"/>
              <a:gd name="T112" fmla="*/ 2147483647 w 53"/>
              <a:gd name="T113" fmla="*/ 2147483647 h 32"/>
              <a:gd name="T114" fmla="*/ 2147483647 w 53"/>
              <a:gd name="T115" fmla="*/ 2147483647 h 32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53"/>
              <a:gd name="T175" fmla="*/ 0 h 32"/>
              <a:gd name="T176" fmla="*/ 53 w 53"/>
              <a:gd name="T177" fmla="*/ 32 h 32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53" h="32">
                <a:moveTo>
                  <a:pt x="48" y="5"/>
                </a:moveTo>
                <a:lnTo>
                  <a:pt x="46" y="5"/>
                </a:lnTo>
                <a:lnTo>
                  <a:pt x="43" y="3"/>
                </a:lnTo>
                <a:lnTo>
                  <a:pt x="42" y="1"/>
                </a:lnTo>
                <a:lnTo>
                  <a:pt x="42" y="0"/>
                </a:lnTo>
                <a:lnTo>
                  <a:pt x="39" y="0"/>
                </a:lnTo>
                <a:lnTo>
                  <a:pt x="37" y="1"/>
                </a:lnTo>
                <a:lnTo>
                  <a:pt x="33" y="0"/>
                </a:lnTo>
                <a:lnTo>
                  <a:pt x="29" y="1"/>
                </a:lnTo>
                <a:lnTo>
                  <a:pt x="27" y="0"/>
                </a:lnTo>
                <a:lnTo>
                  <a:pt x="25" y="1"/>
                </a:lnTo>
                <a:lnTo>
                  <a:pt x="23" y="1"/>
                </a:lnTo>
                <a:lnTo>
                  <a:pt x="22" y="1"/>
                </a:lnTo>
                <a:lnTo>
                  <a:pt x="21" y="0"/>
                </a:lnTo>
                <a:lnTo>
                  <a:pt x="19" y="1"/>
                </a:lnTo>
                <a:lnTo>
                  <a:pt x="19" y="3"/>
                </a:lnTo>
                <a:lnTo>
                  <a:pt x="16" y="3"/>
                </a:lnTo>
                <a:lnTo>
                  <a:pt x="13" y="5"/>
                </a:lnTo>
                <a:lnTo>
                  <a:pt x="10" y="7"/>
                </a:lnTo>
                <a:lnTo>
                  <a:pt x="6" y="7"/>
                </a:lnTo>
                <a:lnTo>
                  <a:pt x="4" y="7"/>
                </a:lnTo>
                <a:lnTo>
                  <a:pt x="0" y="9"/>
                </a:lnTo>
                <a:lnTo>
                  <a:pt x="2" y="12"/>
                </a:lnTo>
                <a:lnTo>
                  <a:pt x="2" y="14"/>
                </a:lnTo>
                <a:lnTo>
                  <a:pt x="4" y="17"/>
                </a:lnTo>
                <a:lnTo>
                  <a:pt x="6" y="19"/>
                </a:lnTo>
                <a:lnTo>
                  <a:pt x="9" y="20"/>
                </a:lnTo>
                <a:lnTo>
                  <a:pt x="8" y="27"/>
                </a:lnTo>
                <a:lnTo>
                  <a:pt x="11" y="30"/>
                </a:lnTo>
                <a:lnTo>
                  <a:pt x="12" y="30"/>
                </a:lnTo>
                <a:cubicBezTo>
                  <a:pt x="12" y="30"/>
                  <a:pt x="12" y="29"/>
                  <a:pt x="12" y="29"/>
                </a:cubicBezTo>
                <a:cubicBezTo>
                  <a:pt x="13" y="29"/>
                  <a:pt x="16" y="29"/>
                  <a:pt x="16" y="29"/>
                </a:cubicBezTo>
                <a:lnTo>
                  <a:pt x="17" y="28"/>
                </a:lnTo>
                <a:lnTo>
                  <a:pt x="19" y="28"/>
                </a:lnTo>
                <a:lnTo>
                  <a:pt x="19" y="31"/>
                </a:lnTo>
                <a:lnTo>
                  <a:pt x="21" y="31"/>
                </a:lnTo>
                <a:lnTo>
                  <a:pt x="21" y="32"/>
                </a:lnTo>
                <a:lnTo>
                  <a:pt x="25" y="29"/>
                </a:lnTo>
                <a:lnTo>
                  <a:pt x="25" y="26"/>
                </a:lnTo>
                <a:lnTo>
                  <a:pt x="26" y="24"/>
                </a:lnTo>
                <a:lnTo>
                  <a:pt x="28" y="23"/>
                </a:lnTo>
                <a:lnTo>
                  <a:pt x="31" y="23"/>
                </a:lnTo>
                <a:lnTo>
                  <a:pt x="31" y="19"/>
                </a:lnTo>
                <a:lnTo>
                  <a:pt x="31" y="16"/>
                </a:lnTo>
                <a:lnTo>
                  <a:pt x="34" y="16"/>
                </a:lnTo>
                <a:lnTo>
                  <a:pt x="36" y="14"/>
                </a:lnTo>
                <a:lnTo>
                  <a:pt x="38" y="15"/>
                </a:lnTo>
                <a:lnTo>
                  <a:pt x="40" y="17"/>
                </a:lnTo>
                <a:lnTo>
                  <a:pt x="42" y="14"/>
                </a:lnTo>
                <a:lnTo>
                  <a:pt x="44" y="12"/>
                </a:lnTo>
                <a:lnTo>
                  <a:pt x="45" y="12"/>
                </a:lnTo>
                <a:lnTo>
                  <a:pt x="46" y="14"/>
                </a:lnTo>
                <a:lnTo>
                  <a:pt x="48" y="15"/>
                </a:lnTo>
                <a:lnTo>
                  <a:pt x="50" y="15"/>
                </a:lnTo>
                <a:lnTo>
                  <a:pt x="52" y="13"/>
                </a:lnTo>
                <a:lnTo>
                  <a:pt x="53" y="11"/>
                </a:lnTo>
                <a:lnTo>
                  <a:pt x="50" y="8"/>
                </a:lnTo>
                <a:lnTo>
                  <a:pt x="48" y="5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 anchor="b"/>
          <a:lstStyle/>
          <a:p>
            <a:endParaRPr lang="ru-RU"/>
          </a:p>
        </p:txBody>
      </p:sp>
      <p:sp>
        <p:nvSpPr>
          <p:cNvPr id="49" name="Freeform 39"/>
          <p:cNvSpPr>
            <a:spLocks/>
          </p:cNvSpPr>
          <p:nvPr/>
        </p:nvSpPr>
        <p:spPr bwMode="auto">
          <a:xfrm>
            <a:off x="3584132" y="3301999"/>
            <a:ext cx="542925" cy="590550"/>
          </a:xfrm>
          <a:custGeom>
            <a:avLst/>
            <a:gdLst>
              <a:gd name="T0" fmla="*/ 2147483647 w 57"/>
              <a:gd name="T1" fmla="*/ 2147483647 h 62"/>
              <a:gd name="T2" fmla="*/ 2147483647 w 57"/>
              <a:gd name="T3" fmla="*/ 2147483647 h 62"/>
              <a:gd name="T4" fmla="*/ 2147483647 w 57"/>
              <a:gd name="T5" fmla="*/ 2147483647 h 62"/>
              <a:gd name="T6" fmla="*/ 2147483647 w 57"/>
              <a:gd name="T7" fmla="*/ 2147483647 h 62"/>
              <a:gd name="T8" fmla="*/ 2147483647 w 57"/>
              <a:gd name="T9" fmla="*/ 2147483647 h 62"/>
              <a:gd name="T10" fmla="*/ 2147483647 w 57"/>
              <a:gd name="T11" fmla="*/ 2147483647 h 62"/>
              <a:gd name="T12" fmla="*/ 2147483647 w 57"/>
              <a:gd name="T13" fmla="*/ 2147483647 h 62"/>
              <a:gd name="T14" fmla="*/ 2147483647 w 57"/>
              <a:gd name="T15" fmla="*/ 2147483647 h 62"/>
              <a:gd name="T16" fmla="*/ 2147483647 w 57"/>
              <a:gd name="T17" fmla="*/ 0 h 62"/>
              <a:gd name="T18" fmla="*/ 2147483647 w 57"/>
              <a:gd name="T19" fmla="*/ 2147483647 h 62"/>
              <a:gd name="T20" fmla="*/ 2147483647 w 57"/>
              <a:gd name="T21" fmla="*/ 2147483647 h 62"/>
              <a:gd name="T22" fmla="*/ 2147483647 w 57"/>
              <a:gd name="T23" fmla="*/ 2147483647 h 62"/>
              <a:gd name="T24" fmla="*/ 2147483647 w 57"/>
              <a:gd name="T25" fmla="*/ 2147483647 h 62"/>
              <a:gd name="T26" fmla="*/ 2147483647 w 57"/>
              <a:gd name="T27" fmla="*/ 2147483647 h 62"/>
              <a:gd name="T28" fmla="*/ 2147483647 w 57"/>
              <a:gd name="T29" fmla="*/ 2147483647 h 62"/>
              <a:gd name="T30" fmla="*/ 2147483647 w 57"/>
              <a:gd name="T31" fmla="*/ 2147483647 h 62"/>
              <a:gd name="T32" fmla="*/ 2147483647 w 57"/>
              <a:gd name="T33" fmla="*/ 2147483647 h 62"/>
              <a:gd name="T34" fmla="*/ 2147483647 w 57"/>
              <a:gd name="T35" fmla="*/ 2147483647 h 62"/>
              <a:gd name="T36" fmla="*/ 2147483647 w 57"/>
              <a:gd name="T37" fmla="*/ 2147483647 h 62"/>
              <a:gd name="T38" fmla="*/ 2147483647 w 57"/>
              <a:gd name="T39" fmla="*/ 2147483647 h 62"/>
              <a:gd name="T40" fmla="*/ 2147483647 w 57"/>
              <a:gd name="T41" fmla="*/ 2147483647 h 62"/>
              <a:gd name="T42" fmla="*/ 2147483647 w 57"/>
              <a:gd name="T43" fmla="*/ 2147483647 h 62"/>
              <a:gd name="T44" fmla="*/ 2147483647 w 57"/>
              <a:gd name="T45" fmla="*/ 2147483647 h 62"/>
              <a:gd name="T46" fmla="*/ 2147483647 w 57"/>
              <a:gd name="T47" fmla="*/ 2147483647 h 62"/>
              <a:gd name="T48" fmla="*/ 2147483647 w 57"/>
              <a:gd name="T49" fmla="*/ 2147483647 h 62"/>
              <a:gd name="T50" fmla="*/ 2147483647 w 57"/>
              <a:gd name="T51" fmla="*/ 2147483647 h 62"/>
              <a:gd name="T52" fmla="*/ 2147483647 w 57"/>
              <a:gd name="T53" fmla="*/ 2147483647 h 62"/>
              <a:gd name="T54" fmla="*/ 2147483647 w 57"/>
              <a:gd name="T55" fmla="*/ 2147483647 h 62"/>
              <a:gd name="T56" fmla="*/ 2147483647 w 57"/>
              <a:gd name="T57" fmla="*/ 2147483647 h 62"/>
              <a:gd name="T58" fmla="*/ 0 w 57"/>
              <a:gd name="T59" fmla="*/ 2147483647 h 62"/>
              <a:gd name="T60" fmla="*/ 2147483647 w 57"/>
              <a:gd name="T61" fmla="*/ 2147483647 h 62"/>
              <a:gd name="T62" fmla="*/ 2147483647 w 57"/>
              <a:gd name="T63" fmla="*/ 2147483647 h 62"/>
              <a:gd name="T64" fmla="*/ 2147483647 w 57"/>
              <a:gd name="T65" fmla="*/ 2147483647 h 62"/>
              <a:gd name="T66" fmla="*/ 2147483647 w 57"/>
              <a:gd name="T67" fmla="*/ 2147483647 h 62"/>
              <a:gd name="T68" fmla="*/ 2147483647 w 57"/>
              <a:gd name="T69" fmla="*/ 2147483647 h 6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57"/>
              <a:gd name="T106" fmla="*/ 0 h 62"/>
              <a:gd name="T107" fmla="*/ 57 w 57"/>
              <a:gd name="T108" fmla="*/ 62 h 62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57" h="62">
                <a:moveTo>
                  <a:pt x="8" y="23"/>
                </a:moveTo>
                <a:lnTo>
                  <a:pt x="10" y="22"/>
                </a:lnTo>
                <a:lnTo>
                  <a:pt x="11" y="20"/>
                </a:lnTo>
                <a:lnTo>
                  <a:pt x="14" y="20"/>
                </a:lnTo>
                <a:lnTo>
                  <a:pt x="17" y="20"/>
                </a:lnTo>
                <a:lnTo>
                  <a:pt x="21" y="20"/>
                </a:lnTo>
                <a:lnTo>
                  <a:pt x="21" y="17"/>
                </a:lnTo>
                <a:lnTo>
                  <a:pt x="21" y="15"/>
                </a:lnTo>
                <a:lnTo>
                  <a:pt x="22" y="13"/>
                </a:lnTo>
                <a:lnTo>
                  <a:pt x="24" y="11"/>
                </a:lnTo>
                <a:lnTo>
                  <a:pt x="26" y="10"/>
                </a:lnTo>
                <a:lnTo>
                  <a:pt x="27" y="8"/>
                </a:lnTo>
                <a:lnTo>
                  <a:pt x="25" y="7"/>
                </a:lnTo>
                <a:lnTo>
                  <a:pt x="24" y="5"/>
                </a:lnTo>
                <a:lnTo>
                  <a:pt x="24" y="4"/>
                </a:lnTo>
                <a:lnTo>
                  <a:pt x="29" y="4"/>
                </a:lnTo>
                <a:lnTo>
                  <a:pt x="31" y="2"/>
                </a:lnTo>
                <a:lnTo>
                  <a:pt x="33" y="0"/>
                </a:lnTo>
                <a:lnTo>
                  <a:pt x="37" y="1"/>
                </a:lnTo>
                <a:lnTo>
                  <a:pt x="39" y="3"/>
                </a:lnTo>
                <a:lnTo>
                  <a:pt x="40" y="7"/>
                </a:lnTo>
                <a:lnTo>
                  <a:pt x="39" y="9"/>
                </a:lnTo>
                <a:lnTo>
                  <a:pt x="36" y="12"/>
                </a:lnTo>
                <a:lnTo>
                  <a:pt x="32" y="16"/>
                </a:lnTo>
                <a:lnTo>
                  <a:pt x="31" y="19"/>
                </a:lnTo>
                <a:lnTo>
                  <a:pt x="33" y="26"/>
                </a:lnTo>
                <a:lnTo>
                  <a:pt x="34" y="27"/>
                </a:lnTo>
                <a:lnTo>
                  <a:pt x="37" y="24"/>
                </a:lnTo>
                <a:lnTo>
                  <a:pt x="39" y="24"/>
                </a:lnTo>
                <a:lnTo>
                  <a:pt x="45" y="27"/>
                </a:lnTo>
                <a:lnTo>
                  <a:pt x="50" y="26"/>
                </a:lnTo>
                <a:lnTo>
                  <a:pt x="52" y="25"/>
                </a:lnTo>
                <a:lnTo>
                  <a:pt x="57" y="31"/>
                </a:lnTo>
                <a:lnTo>
                  <a:pt x="57" y="37"/>
                </a:lnTo>
                <a:lnTo>
                  <a:pt x="53" y="38"/>
                </a:lnTo>
                <a:lnTo>
                  <a:pt x="50" y="39"/>
                </a:lnTo>
                <a:lnTo>
                  <a:pt x="50" y="43"/>
                </a:lnTo>
                <a:lnTo>
                  <a:pt x="52" y="45"/>
                </a:lnTo>
                <a:lnTo>
                  <a:pt x="49" y="47"/>
                </a:lnTo>
                <a:lnTo>
                  <a:pt x="49" y="49"/>
                </a:lnTo>
                <a:lnTo>
                  <a:pt x="46" y="50"/>
                </a:lnTo>
                <a:lnTo>
                  <a:pt x="44" y="47"/>
                </a:lnTo>
                <a:lnTo>
                  <a:pt x="41" y="47"/>
                </a:lnTo>
                <a:lnTo>
                  <a:pt x="38" y="44"/>
                </a:lnTo>
                <a:lnTo>
                  <a:pt x="34" y="44"/>
                </a:lnTo>
                <a:lnTo>
                  <a:pt x="33" y="48"/>
                </a:lnTo>
                <a:lnTo>
                  <a:pt x="30" y="51"/>
                </a:lnTo>
                <a:lnTo>
                  <a:pt x="26" y="49"/>
                </a:lnTo>
                <a:lnTo>
                  <a:pt x="24" y="50"/>
                </a:lnTo>
                <a:lnTo>
                  <a:pt x="24" y="54"/>
                </a:lnTo>
                <a:lnTo>
                  <a:pt x="23" y="58"/>
                </a:lnTo>
                <a:lnTo>
                  <a:pt x="19" y="58"/>
                </a:lnTo>
                <a:lnTo>
                  <a:pt x="17" y="62"/>
                </a:lnTo>
                <a:lnTo>
                  <a:pt x="14" y="54"/>
                </a:lnTo>
                <a:lnTo>
                  <a:pt x="15" y="47"/>
                </a:lnTo>
                <a:lnTo>
                  <a:pt x="13" y="42"/>
                </a:lnTo>
                <a:lnTo>
                  <a:pt x="7" y="39"/>
                </a:lnTo>
                <a:lnTo>
                  <a:pt x="1" y="39"/>
                </a:lnTo>
                <a:lnTo>
                  <a:pt x="1" y="36"/>
                </a:lnTo>
                <a:lnTo>
                  <a:pt x="0" y="35"/>
                </a:lnTo>
                <a:lnTo>
                  <a:pt x="2" y="32"/>
                </a:lnTo>
                <a:lnTo>
                  <a:pt x="4" y="30"/>
                </a:lnTo>
                <a:lnTo>
                  <a:pt x="5" y="30"/>
                </a:lnTo>
                <a:lnTo>
                  <a:pt x="6" y="32"/>
                </a:lnTo>
                <a:lnTo>
                  <a:pt x="8" y="33"/>
                </a:lnTo>
                <a:lnTo>
                  <a:pt x="10" y="33"/>
                </a:lnTo>
                <a:lnTo>
                  <a:pt x="12" y="31"/>
                </a:lnTo>
                <a:lnTo>
                  <a:pt x="13" y="29"/>
                </a:lnTo>
                <a:lnTo>
                  <a:pt x="10" y="26"/>
                </a:lnTo>
                <a:lnTo>
                  <a:pt x="8" y="23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50" name="Freeform 40"/>
          <p:cNvSpPr>
            <a:spLocks/>
          </p:cNvSpPr>
          <p:nvPr/>
        </p:nvSpPr>
        <p:spPr bwMode="auto">
          <a:xfrm>
            <a:off x="3498407" y="3606799"/>
            <a:ext cx="228600" cy="219075"/>
          </a:xfrm>
          <a:custGeom>
            <a:avLst/>
            <a:gdLst>
              <a:gd name="T0" fmla="*/ 2147483647 w 24"/>
              <a:gd name="T1" fmla="*/ 2147483647 h 23"/>
              <a:gd name="T2" fmla="*/ 2147483647 w 24"/>
              <a:gd name="T3" fmla="*/ 2147483647 h 23"/>
              <a:gd name="T4" fmla="*/ 2147483647 w 24"/>
              <a:gd name="T5" fmla="*/ 2147483647 h 23"/>
              <a:gd name="T6" fmla="*/ 2147483647 w 24"/>
              <a:gd name="T7" fmla="*/ 2147483647 h 23"/>
              <a:gd name="T8" fmla="*/ 2147483647 w 24"/>
              <a:gd name="T9" fmla="*/ 2147483647 h 23"/>
              <a:gd name="T10" fmla="*/ 2147483647 w 24"/>
              <a:gd name="T11" fmla="*/ 2147483647 h 23"/>
              <a:gd name="T12" fmla="*/ 2147483647 w 24"/>
              <a:gd name="T13" fmla="*/ 2147483647 h 23"/>
              <a:gd name="T14" fmla="*/ 2147483647 w 24"/>
              <a:gd name="T15" fmla="*/ 2147483647 h 23"/>
              <a:gd name="T16" fmla="*/ 2147483647 w 24"/>
              <a:gd name="T17" fmla="*/ 0 h 23"/>
              <a:gd name="T18" fmla="*/ 2147483647 w 24"/>
              <a:gd name="T19" fmla="*/ 2147483647 h 23"/>
              <a:gd name="T20" fmla="*/ 0 w 24"/>
              <a:gd name="T21" fmla="*/ 2147483647 h 23"/>
              <a:gd name="T22" fmla="*/ 0 w 24"/>
              <a:gd name="T23" fmla="*/ 2147483647 h 23"/>
              <a:gd name="T24" fmla="*/ 0 w 24"/>
              <a:gd name="T25" fmla="*/ 2147483647 h 23"/>
              <a:gd name="T26" fmla="*/ 2147483647 w 24"/>
              <a:gd name="T27" fmla="*/ 2147483647 h 23"/>
              <a:gd name="T28" fmla="*/ 2147483647 w 24"/>
              <a:gd name="T29" fmla="*/ 2147483647 h 23"/>
              <a:gd name="T30" fmla="*/ 2147483647 w 24"/>
              <a:gd name="T31" fmla="*/ 2147483647 h 23"/>
              <a:gd name="T32" fmla="*/ 2147483647 w 24"/>
              <a:gd name="T33" fmla="*/ 2147483647 h 23"/>
              <a:gd name="T34" fmla="*/ 2147483647 w 24"/>
              <a:gd name="T35" fmla="*/ 2147483647 h 23"/>
              <a:gd name="T36" fmla="*/ 2147483647 w 24"/>
              <a:gd name="T37" fmla="*/ 2147483647 h 23"/>
              <a:gd name="T38" fmla="*/ 2147483647 w 24"/>
              <a:gd name="T39" fmla="*/ 2147483647 h 23"/>
              <a:gd name="T40" fmla="*/ 2147483647 w 24"/>
              <a:gd name="T41" fmla="*/ 2147483647 h 23"/>
              <a:gd name="T42" fmla="*/ 2147483647 w 24"/>
              <a:gd name="T43" fmla="*/ 2147483647 h 23"/>
              <a:gd name="T44" fmla="*/ 2147483647 w 24"/>
              <a:gd name="T45" fmla="*/ 2147483647 h 23"/>
              <a:gd name="T46" fmla="*/ 2147483647 w 24"/>
              <a:gd name="T47" fmla="*/ 2147483647 h 23"/>
              <a:gd name="T48" fmla="*/ 2147483647 w 24"/>
              <a:gd name="T49" fmla="*/ 2147483647 h 23"/>
              <a:gd name="T50" fmla="*/ 2147483647 w 24"/>
              <a:gd name="T51" fmla="*/ 2147483647 h 23"/>
              <a:gd name="T52" fmla="*/ 2147483647 w 24"/>
              <a:gd name="T53" fmla="*/ 2147483647 h 2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24"/>
              <a:gd name="T82" fmla="*/ 0 h 23"/>
              <a:gd name="T83" fmla="*/ 24 w 24"/>
              <a:gd name="T84" fmla="*/ 23 h 23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24" h="23">
                <a:moveTo>
                  <a:pt x="23" y="22"/>
                </a:moveTo>
                <a:lnTo>
                  <a:pt x="24" y="15"/>
                </a:lnTo>
                <a:lnTo>
                  <a:pt x="22" y="10"/>
                </a:lnTo>
                <a:lnTo>
                  <a:pt x="16" y="7"/>
                </a:lnTo>
                <a:lnTo>
                  <a:pt x="10" y="7"/>
                </a:lnTo>
                <a:lnTo>
                  <a:pt x="10" y="4"/>
                </a:lnTo>
                <a:lnTo>
                  <a:pt x="9" y="3"/>
                </a:lnTo>
                <a:lnTo>
                  <a:pt x="7" y="1"/>
                </a:lnTo>
                <a:lnTo>
                  <a:pt x="5" y="0"/>
                </a:lnTo>
                <a:lnTo>
                  <a:pt x="3" y="2"/>
                </a:lnTo>
                <a:lnTo>
                  <a:pt x="0" y="2"/>
                </a:lnTo>
                <a:lnTo>
                  <a:pt x="0" y="5"/>
                </a:lnTo>
                <a:lnTo>
                  <a:pt x="0" y="9"/>
                </a:lnTo>
                <a:lnTo>
                  <a:pt x="3" y="10"/>
                </a:lnTo>
                <a:lnTo>
                  <a:pt x="7" y="10"/>
                </a:lnTo>
                <a:lnTo>
                  <a:pt x="7" y="13"/>
                </a:lnTo>
                <a:lnTo>
                  <a:pt x="8" y="16"/>
                </a:lnTo>
                <a:lnTo>
                  <a:pt x="7" y="18"/>
                </a:lnTo>
                <a:lnTo>
                  <a:pt x="8" y="21"/>
                </a:lnTo>
                <a:lnTo>
                  <a:pt x="13" y="21"/>
                </a:lnTo>
                <a:lnTo>
                  <a:pt x="13" y="19"/>
                </a:lnTo>
                <a:lnTo>
                  <a:pt x="17" y="19"/>
                </a:lnTo>
                <a:lnTo>
                  <a:pt x="19" y="20"/>
                </a:lnTo>
                <a:lnTo>
                  <a:pt x="21" y="20"/>
                </a:lnTo>
                <a:lnTo>
                  <a:pt x="21" y="22"/>
                </a:lnTo>
                <a:lnTo>
                  <a:pt x="22" y="23"/>
                </a:lnTo>
                <a:lnTo>
                  <a:pt x="23" y="22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51" name="Freeform 41"/>
          <p:cNvSpPr>
            <a:spLocks/>
          </p:cNvSpPr>
          <p:nvPr/>
        </p:nvSpPr>
        <p:spPr bwMode="auto">
          <a:xfrm>
            <a:off x="3384107" y="3692524"/>
            <a:ext cx="190500" cy="171450"/>
          </a:xfrm>
          <a:custGeom>
            <a:avLst/>
            <a:gdLst>
              <a:gd name="T0" fmla="*/ 0 w 20"/>
              <a:gd name="T1" fmla="*/ 2147483647 h 18"/>
              <a:gd name="T2" fmla="*/ 2147483647 w 20"/>
              <a:gd name="T3" fmla="*/ 2147483647 h 18"/>
              <a:gd name="T4" fmla="*/ 2147483647 w 20"/>
              <a:gd name="T5" fmla="*/ 2147483647 h 18"/>
              <a:gd name="T6" fmla="*/ 2147483647 w 20"/>
              <a:gd name="T7" fmla="*/ 2147483647 h 18"/>
              <a:gd name="T8" fmla="*/ 2147483647 w 20"/>
              <a:gd name="T9" fmla="*/ 2147483647 h 18"/>
              <a:gd name="T10" fmla="*/ 2147483647 w 20"/>
              <a:gd name="T11" fmla="*/ 2147483647 h 18"/>
              <a:gd name="T12" fmla="*/ 2147483647 w 20"/>
              <a:gd name="T13" fmla="*/ 2147483647 h 18"/>
              <a:gd name="T14" fmla="*/ 2147483647 w 20"/>
              <a:gd name="T15" fmla="*/ 0 h 18"/>
              <a:gd name="T16" fmla="*/ 2147483647 w 20"/>
              <a:gd name="T17" fmla="*/ 0 h 18"/>
              <a:gd name="T18" fmla="*/ 2147483647 w 20"/>
              <a:gd name="T19" fmla="*/ 2147483647 h 18"/>
              <a:gd name="T20" fmla="*/ 2147483647 w 20"/>
              <a:gd name="T21" fmla="*/ 2147483647 h 18"/>
              <a:gd name="T22" fmla="*/ 2147483647 w 20"/>
              <a:gd name="T23" fmla="*/ 2147483647 h 18"/>
              <a:gd name="T24" fmla="*/ 2147483647 w 20"/>
              <a:gd name="T25" fmla="*/ 2147483647 h 18"/>
              <a:gd name="T26" fmla="*/ 2147483647 w 20"/>
              <a:gd name="T27" fmla="*/ 2147483647 h 18"/>
              <a:gd name="T28" fmla="*/ 2147483647 w 20"/>
              <a:gd name="T29" fmla="*/ 2147483647 h 18"/>
              <a:gd name="T30" fmla="*/ 2147483647 w 20"/>
              <a:gd name="T31" fmla="*/ 2147483647 h 18"/>
              <a:gd name="T32" fmla="*/ 2147483647 w 20"/>
              <a:gd name="T33" fmla="*/ 2147483647 h 18"/>
              <a:gd name="T34" fmla="*/ 2147483647 w 20"/>
              <a:gd name="T35" fmla="*/ 2147483647 h 18"/>
              <a:gd name="T36" fmla="*/ 2147483647 w 20"/>
              <a:gd name="T37" fmla="*/ 2147483647 h 18"/>
              <a:gd name="T38" fmla="*/ 2147483647 w 20"/>
              <a:gd name="T39" fmla="*/ 2147483647 h 18"/>
              <a:gd name="T40" fmla="*/ 2147483647 w 20"/>
              <a:gd name="T41" fmla="*/ 2147483647 h 18"/>
              <a:gd name="T42" fmla="*/ 2147483647 w 20"/>
              <a:gd name="T43" fmla="*/ 2147483647 h 18"/>
              <a:gd name="T44" fmla="*/ 2147483647 w 20"/>
              <a:gd name="T45" fmla="*/ 2147483647 h 18"/>
              <a:gd name="T46" fmla="*/ 2147483647 w 20"/>
              <a:gd name="T47" fmla="*/ 2147483647 h 18"/>
              <a:gd name="T48" fmla="*/ 2147483647 w 20"/>
              <a:gd name="T49" fmla="*/ 2147483647 h 18"/>
              <a:gd name="T50" fmla="*/ 2147483647 w 20"/>
              <a:gd name="T51" fmla="*/ 2147483647 h 18"/>
              <a:gd name="T52" fmla="*/ 0 w 20"/>
              <a:gd name="T53" fmla="*/ 2147483647 h 18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20"/>
              <a:gd name="T82" fmla="*/ 0 h 18"/>
              <a:gd name="T83" fmla="*/ 20 w 20"/>
              <a:gd name="T84" fmla="*/ 18 h 18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20" h="18">
                <a:moveTo>
                  <a:pt x="0" y="13"/>
                </a:moveTo>
                <a:lnTo>
                  <a:pt x="1" y="12"/>
                </a:lnTo>
                <a:lnTo>
                  <a:pt x="2" y="11"/>
                </a:lnTo>
                <a:lnTo>
                  <a:pt x="2" y="9"/>
                </a:lnTo>
                <a:lnTo>
                  <a:pt x="6" y="6"/>
                </a:lnTo>
                <a:lnTo>
                  <a:pt x="6" y="3"/>
                </a:lnTo>
                <a:lnTo>
                  <a:pt x="7" y="1"/>
                </a:lnTo>
                <a:lnTo>
                  <a:pt x="9" y="0"/>
                </a:lnTo>
                <a:lnTo>
                  <a:pt x="12" y="0"/>
                </a:lnTo>
                <a:lnTo>
                  <a:pt x="15" y="1"/>
                </a:lnTo>
                <a:lnTo>
                  <a:pt x="19" y="1"/>
                </a:lnTo>
                <a:lnTo>
                  <a:pt x="19" y="4"/>
                </a:lnTo>
                <a:lnTo>
                  <a:pt x="20" y="7"/>
                </a:lnTo>
                <a:lnTo>
                  <a:pt x="19" y="9"/>
                </a:lnTo>
                <a:lnTo>
                  <a:pt x="20" y="12"/>
                </a:lnTo>
                <a:lnTo>
                  <a:pt x="17" y="12"/>
                </a:lnTo>
                <a:lnTo>
                  <a:pt x="16" y="13"/>
                </a:lnTo>
                <a:lnTo>
                  <a:pt x="14" y="13"/>
                </a:lnTo>
                <a:lnTo>
                  <a:pt x="13" y="14"/>
                </a:lnTo>
                <a:lnTo>
                  <a:pt x="13" y="16"/>
                </a:lnTo>
                <a:lnTo>
                  <a:pt x="12" y="17"/>
                </a:lnTo>
                <a:lnTo>
                  <a:pt x="9" y="18"/>
                </a:lnTo>
                <a:lnTo>
                  <a:pt x="7" y="18"/>
                </a:lnTo>
                <a:lnTo>
                  <a:pt x="5" y="17"/>
                </a:lnTo>
                <a:lnTo>
                  <a:pt x="3" y="16"/>
                </a:lnTo>
                <a:lnTo>
                  <a:pt x="2" y="14"/>
                </a:lnTo>
                <a:lnTo>
                  <a:pt x="0" y="13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52" name="Freeform 42"/>
          <p:cNvSpPr>
            <a:spLocks/>
          </p:cNvSpPr>
          <p:nvPr/>
        </p:nvSpPr>
        <p:spPr bwMode="auto">
          <a:xfrm>
            <a:off x="3260282" y="3816349"/>
            <a:ext cx="314325" cy="257175"/>
          </a:xfrm>
          <a:custGeom>
            <a:avLst/>
            <a:gdLst>
              <a:gd name="T0" fmla="*/ 2147483647 w 33"/>
              <a:gd name="T1" fmla="*/ 2147483647 h 27"/>
              <a:gd name="T2" fmla="*/ 2147483647 w 33"/>
              <a:gd name="T3" fmla="*/ 2147483647 h 27"/>
              <a:gd name="T4" fmla="*/ 2147483647 w 33"/>
              <a:gd name="T5" fmla="*/ 2147483647 h 27"/>
              <a:gd name="T6" fmla="*/ 2147483647 w 33"/>
              <a:gd name="T7" fmla="*/ 0 h 27"/>
              <a:gd name="T8" fmla="*/ 2147483647 w 33"/>
              <a:gd name="T9" fmla="*/ 2147483647 h 27"/>
              <a:gd name="T10" fmla="*/ 2147483647 w 33"/>
              <a:gd name="T11" fmla="*/ 2147483647 h 27"/>
              <a:gd name="T12" fmla="*/ 2147483647 w 33"/>
              <a:gd name="T13" fmla="*/ 2147483647 h 27"/>
              <a:gd name="T14" fmla="*/ 2147483647 w 33"/>
              <a:gd name="T15" fmla="*/ 2147483647 h 27"/>
              <a:gd name="T16" fmla="*/ 2147483647 w 33"/>
              <a:gd name="T17" fmla="*/ 2147483647 h 27"/>
              <a:gd name="T18" fmla="*/ 2147483647 w 33"/>
              <a:gd name="T19" fmla="*/ 2147483647 h 27"/>
              <a:gd name="T20" fmla="*/ 2147483647 w 33"/>
              <a:gd name="T21" fmla="*/ 2147483647 h 27"/>
              <a:gd name="T22" fmla="*/ 2147483647 w 33"/>
              <a:gd name="T23" fmla="*/ 2147483647 h 27"/>
              <a:gd name="T24" fmla="*/ 2147483647 w 33"/>
              <a:gd name="T25" fmla="*/ 2147483647 h 27"/>
              <a:gd name="T26" fmla="*/ 2147483647 w 33"/>
              <a:gd name="T27" fmla="*/ 2147483647 h 27"/>
              <a:gd name="T28" fmla="*/ 2147483647 w 33"/>
              <a:gd name="T29" fmla="*/ 2147483647 h 27"/>
              <a:gd name="T30" fmla="*/ 0 w 33"/>
              <a:gd name="T31" fmla="*/ 2147483647 h 27"/>
              <a:gd name="T32" fmla="*/ 2147483647 w 33"/>
              <a:gd name="T33" fmla="*/ 2147483647 h 27"/>
              <a:gd name="T34" fmla="*/ 2147483647 w 33"/>
              <a:gd name="T35" fmla="*/ 2147483647 h 27"/>
              <a:gd name="T36" fmla="*/ 2147483647 w 33"/>
              <a:gd name="T37" fmla="*/ 2147483647 h 27"/>
              <a:gd name="T38" fmla="*/ 2147483647 w 33"/>
              <a:gd name="T39" fmla="*/ 2147483647 h 27"/>
              <a:gd name="T40" fmla="*/ 2147483647 w 33"/>
              <a:gd name="T41" fmla="*/ 2147483647 h 27"/>
              <a:gd name="T42" fmla="*/ 2147483647 w 33"/>
              <a:gd name="T43" fmla="*/ 2147483647 h 27"/>
              <a:gd name="T44" fmla="*/ 2147483647 w 33"/>
              <a:gd name="T45" fmla="*/ 2147483647 h 27"/>
              <a:gd name="T46" fmla="*/ 2147483647 w 33"/>
              <a:gd name="T47" fmla="*/ 2147483647 h 27"/>
              <a:gd name="T48" fmla="*/ 2147483647 w 33"/>
              <a:gd name="T49" fmla="*/ 2147483647 h 27"/>
              <a:gd name="T50" fmla="*/ 2147483647 w 33"/>
              <a:gd name="T51" fmla="*/ 2147483647 h 27"/>
              <a:gd name="T52" fmla="*/ 2147483647 w 33"/>
              <a:gd name="T53" fmla="*/ 2147483647 h 27"/>
              <a:gd name="T54" fmla="*/ 2147483647 w 33"/>
              <a:gd name="T55" fmla="*/ 2147483647 h 27"/>
              <a:gd name="T56" fmla="*/ 2147483647 w 33"/>
              <a:gd name="T57" fmla="*/ 2147483647 h 27"/>
              <a:gd name="T58" fmla="*/ 2147483647 w 33"/>
              <a:gd name="T59" fmla="*/ 2147483647 h 27"/>
              <a:gd name="T60" fmla="*/ 2147483647 w 33"/>
              <a:gd name="T61" fmla="*/ 2147483647 h 27"/>
              <a:gd name="T62" fmla="*/ 2147483647 w 33"/>
              <a:gd name="T63" fmla="*/ 2147483647 h 27"/>
              <a:gd name="T64" fmla="*/ 2147483647 w 33"/>
              <a:gd name="T65" fmla="*/ 2147483647 h 27"/>
              <a:gd name="T66" fmla="*/ 2147483647 w 33"/>
              <a:gd name="T67" fmla="*/ 2147483647 h 27"/>
              <a:gd name="T68" fmla="*/ 2147483647 w 33"/>
              <a:gd name="T69" fmla="*/ 2147483647 h 27"/>
              <a:gd name="T70" fmla="*/ 2147483647 w 33"/>
              <a:gd name="T71" fmla="*/ 2147483647 h 27"/>
              <a:gd name="T72" fmla="*/ 2147483647 w 33"/>
              <a:gd name="T73" fmla="*/ 2147483647 h 27"/>
              <a:gd name="T74" fmla="*/ 2147483647 w 33"/>
              <a:gd name="T75" fmla="*/ 2147483647 h 27"/>
              <a:gd name="T76" fmla="*/ 2147483647 w 33"/>
              <a:gd name="T77" fmla="*/ 2147483647 h 27"/>
              <a:gd name="T78" fmla="*/ 2147483647 w 33"/>
              <a:gd name="T79" fmla="*/ 2147483647 h 27"/>
              <a:gd name="T80" fmla="*/ 2147483647 w 33"/>
              <a:gd name="T81" fmla="*/ 2147483647 h 27"/>
              <a:gd name="T82" fmla="*/ 2147483647 w 33"/>
              <a:gd name="T83" fmla="*/ 2147483647 h 27"/>
              <a:gd name="T84" fmla="*/ 2147483647 w 33"/>
              <a:gd name="T85" fmla="*/ 2147483647 h 27"/>
              <a:gd name="T86" fmla="*/ 2147483647 w 33"/>
              <a:gd name="T87" fmla="*/ 2147483647 h 27"/>
              <a:gd name="T88" fmla="*/ 2147483647 w 33"/>
              <a:gd name="T89" fmla="*/ 2147483647 h 27"/>
              <a:gd name="T90" fmla="*/ 2147483647 w 33"/>
              <a:gd name="T91" fmla="*/ 2147483647 h 27"/>
              <a:gd name="T92" fmla="*/ 2147483647 w 33"/>
              <a:gd name="T93" fmla="*/ 2147483647 h 27"/>
              <a:gd name="T94" fmla="*/ 2147483647 w 33"/>
              <a:gd name="T95" fmla="*/ 2147483647 h 27"/>
              <a:gd name="T96" fmla="*/ 2147483647 w 33"/>
              <a:gd name="T97" fmla="*/ 2147483647 h 27"/>
              <a:gd name="T98" fmla="*/ 2147483647 w 33"/>
              <a:gd name="T99" fmla="*/ 2147483647 h 27"/>
              <a:gd name="T100" fmla="*/ 2147483647 w 33"/>
              <a:gd name="T101" fmla="*/ 2147483647 h 27"/>
              <a:gd name="T102" fmla="*/ 2147483647 w 33"/>
              <a:gd name="T103" fmla="*/ 2147483647 h 2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33"/>
              <a:gd name="T157" fmla="*/ 0 h 27"/>
              <a:gd name="T158" fmla="*/ 33 w 33"/>
              <a:gd name="T159" fmla="*/ 27 h 27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33" h="27">
                <a:moveTo>
                  <a:pt x="18" y="4"/>
                </a:moveTo>
                <a:lnTo>
                  <a:pt x="16" y="3"/>
                </a:lnTo>
                <a:lnTo>
                  <a:pt x="15" y="1"/>
                </a:lnTo>
                <a:lnTo>
                  <a:pt x="13" y="0"/>
                </a:lnTo>
                <a:lnTo>
                  <a:pt x="12" y="1"/>
                </a:lnTo>
                <a:lnTo>
                  <a:pt x="12" y="4"/>
                </a:lnTo>
                <a:lnTo>
                  <a:pt x="9" y="4"/>
                </a:lnTo>
                <a:lnTo>
                  <a:pt x="5" y="2"/>
                </a:lnTo>
                <a:lnTo>
                  <a:pt x="5" y="5"/>
                </a:lnTo>
                <a:lnTo>
                  <a:pt x="6" y="9"/>
                </a:lnTo>
                <a:lnTo>
                  <a:pt x="5" y="10"/>
                </a:lnTo>
                <a:lnTo>
                  <a:pt x="5" y="12"/>
                </a:lnTo>
                <a:lnTo>
                  <a:pt x="5" y="14"/>
                </a:lnTo>
                <a:lnTo>
                  <a:pt x="4" y="15"/>
                </a:lnTo>
                <a:lnTo>
                  <a:pt x="3" y="18"/>
                </a:lnTo>
                <a:lnTo>
                  <a:pt x="0" y="19"/>
                </a:lnTo>
                <a:lnTo>
                  <a:pt x="1" y="21"/>
                </a:lnTo>
                <a:lnTo>
                  <a:pt x="1" y="23"/>
                </a:lnTo>
                <a:lnTo>
                  <a:pt x="2" y="24"/>
                </a:lnTo>
                <a:lnTo>
                  <a:pt x="4" y="25"/>
                </a:lnTo>
                <a:lnTo>
                  <a:pt x="7" y="26"/>
                </a:lnTo>
                <a:lnTo>
                  <a:pt x="8" y="27"/>
                </a:lnTo>
                <a:lnTo>
                  <a:pt x="11" y="27"/>
                </a:lnTo>
                <a:lnTo>
                  <a:pt x="11" y="24"/>
                </a:lnTo>
                <a:lnTo>
                  <a:pt x="9" y="23"/>
                </a:lnTo>
                <a:lnTo>
                  <a:pt x="9" y="21"/>
                </a:lnTo>
                <a:lnTo>
                  <a:pt x="11" y="19"/>
                </a:lnTo>
                <a:lnTo>
                  <a:pt x="14" y="18"/>
                </a:lnTo>
                <a:lnTo>
                  <a:pt x="17" y="18"/>
                </a:lnTo>
                <a:lnTo>
                  <a:pt x="19" y="19"/>
                </a:lnTo>
                <a:lnTo>
                  <a:pt x="21" y="21"/>
                </a:lnTo>
                <a:lnTo>
                  <a:pt x="23" y="23"/>
                </a:lnTo>
                <a:lnTo>
                  <a:pt x="25" y="24"/>
                </a:lnTo>
                <a:lnTo>
                  <a:pt x="27" y="24"/>
                </a:lnTo>
                <a:lnTo>
                  <a:pt x="30" y="23"/>
                </a:lnTo>
                <a:lnTo>
                  <a:pt x="31" y="21"/>
                </a:lnTo>
                <a:lnTo>
                  <a:pt x="32" y="20"/>
                </a:lnTo>
                <a:lnTo>
                  <a:pt x="33" y="19"/>
                </a:lnTo>
                <a:lnTo>
                  <a:pt x="32" y="17"/>
                </a:lnTo>
                <a:lnTo>
                  <a:pt x="30" y="17"/>
                </a:lnTo>
                <a:lnTo>
                  <a:pt x="30" y="15"/>
                </a:lnTo>
                <a:lnTo>
                  <a:pt x="31" y="14"/>
                </a:lnTo>
                <a:lnTo>
                  <a:pt x="31" y="12"/>
                </a:lnTo>
                <a:lnTo>
                  <a:pt x="30" y="11"/>
                </a:lnTo>
                <a:lnTo>
                  <a:pt x="27" y="11"/>
                </a:lnTo>
                <a:lnTo>
                  <a:pt x="25" y="11"/>
                </a:lnTo>
                <a:lnTo>
                  <a:pt x="25" y="10"/>
                </a:lnTo>
                <a:lnTo>
                  <a:pt x="24" y="8"/>
                </a:lnTo>
                <a:lnTo>
                  <a:pt x="23" y="7"/>
                </a:lnTo>
                <a:lnTo>
                  <a:pt x="21" y="6"/>
                </a:lnTo>
                <a:lnTo>
                  <a:pt x="19" y="6"/>
                </a:lnTo>
                <a:lnTo>
                  <a:pt x="18" y="4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53" name="Freeform 43"/>
          <p:cNvSpPr>
            <a:spLocks/>
          </p:cNvSpPr>
          <p:nvPr/>
        </p:nvSpPr>
        <p:spPr bwMode="auto">
          <a:xfrm>
            <a:off x="3431732" y="3787774"/>
            <a:ext cx="438150" cy="381000"/>
          </a:xfrm>
          <a:custGeom>
            <a:avLst/>
            <a:gdLst>
              <a:gd name="T0" fmla="*/ 2147483647 w 46"/>
              <a:gd name="T1" fmla="*/ 2147483647 h 40"/>
              <a:gd name="T2" fmla="*/ 2147483647 w 46"/>
              <a:gd name="T3" fmla="*/ 2147483647 h 40"/>
              <a:gd name="T4" fmla="*/ 2147483647 w 46"/>
              <a:gd name="T5" fmla="*/ 2147483647 h 40"/>
              <a:gd name="T6" fmla="*/ 2147483647 w 46"/>
              <a:gd name="T7" fmla="*/ 2147483647 h 40"/>
              <a:gd name="T8" fmla="*/ 2147483647 w 46"/>
              <a:gd name="T9" fmla="*/ 2147483647 h 40"/>
              <a:gd name="T10" fmla="*/ 2147483647 w 46"/>
              <a:gd name="T11" fmla="*/ 2147483647 h 40"/>
              <a:gd name="T12" fmla="*/ 2147483647 w 46"/>
              <a:gd name="T13" fmla="*/ 2147483647 h 40"/>
              <a:gd name="T14" fmla="*/ 2147483647 w 46"/>
              <a:gd name="T15" fmla="*/ 2147483647 h 40"/>
              <a:gd name="T16" fmla="*/ 2147483647 w 46"/>
              <a:gd name="T17" fmla="*/ 2147483647 h 40"/>
              <a:gd name="T18" fmla="*/ 2147483647 w 46"/>
              <a:gd name="T19" fmla="*/ 2147483647 h 40"/>
              <a:gd name="T20" fmla="*/ 2147483647 w 46"/>
              <a:gd name="T21" fmla="*/ 2147483647 h 40"/>
              <a:gd name="T22" fmla="*/ 2147483647 w 46"/>
              <a:gd name="T23" fmla="*/ 2147483647 h 40"/>
              <a:gd name="T24" fmla="*/ 2147483647 w 46"/>
              <a:gd name="T25" fmla="*/ 2147483647 h 40"/>
              <a:gd name="T26" fmla="*/ 2147483647 w 46"/>
              <a:gd name="T27" fmla="*/ 0 h 40"/>
              <a:gd name="T28" fmla="*/ 2147483647 w 46"/>
              <a:gd name="T29" fmla="*/ 2147483647 h 40"/>
              <a:gd name="T30" fmla="*/ 2147483647 w 46"/>
              <a:gd name="T31" fmla="*/ 2147483647 h 40"/>
              <a:gd name="T32" fmla="*/ 2147483647 w 46"/>
              <a:gd name="T33" fmla="*/ 2147483647 h 40"/>
              <a:gd name="T34" fmla="*/ 2147483647 w 46"/>
              <a:gd name="T35" fmla="*/ 2147483647 h 40"/>
              <a:gd name="T36" fmla="*/ 2147483647 w 46"/>
              <a:gd name="T37" fmla="*/ 2147483647 h 40"/>
              <a:gd name="T38" fmla="*/ 2147483647 w 46"/>
              <a:gd name="T39" fmla="*/ 2147483647 h 40"/>
              <a:gd name="T40" fmla="*/ 2147483647 w 46"/>
              <a:gd name="T41" fmla="*/ 2147483647 h 40"/>
              <a:gd name="T42" fmla="*/ 2147483647 w 46"/>
              <a:gd name="T43" fmla="*/ 2147483647 h 40"/>
              <a:gd name="T44" fmla="*/ 2147483647 w 46"/>
              <a:gd name="T45" fmla="*/ 2147483647 h 40"/>
              <a:gd name="T46" fmla="*/ 2147483647 w 46"/>
              <a:gd name="T47" fmla="*/ 2147483647 h 40"/>
              <a:gd name="T48" fmla="*/ 2147483647 w 46"/>
              <a:gd name="T49" fmla="*/ 2147483647 h 40"/>
              <a:gd name="T50" fmla="*/ 2147483647 w 46"/>
              <a:gd name="T51" fmla="*/ 2147483647 h 40"/>
              <a:gd name="T52" fmla="*/ 2147483647 w 46"/>
              <a:gd name="T53" fmla="*/ 2147483647 h 40"/>
              <a:gd name="T54" fmla="*/ 2147483647 w 46"/>
              <a:gd name="T55" fmla="*/ 2147483647 h 40"/>
              <a:gd name="T56" fmla="*/ 2147483647 w 46"/>
              <a:gd name="T57" fmla="*/ 2147483647 h 40"/>
              <a:gd name="T58" fmla="*/ 2147483647 w 46"/>
              <a:gd name="T59" fmla="*/ 2147483647 h 40"/>
              <a:gd name="T60" fmla="*/ 2147483647 w 46"/>
              <a:gd name="T61" fmla="*/ 2147483647 h 40"/>
              <a:gd name="T62" fmla="*/ 2147483647 w 46"/>
              <a:gd name="T63" fmla="*/ 2147483647 h 40"/>
              <a:gd name="T64" fmla="*/ 2147483647 w 46"/>
              <a:gd name="T65" fmla="*/ 2147483647 h 40"/>
              <a:gd name="T66" fmla="*/ 2147483647 w 46"/>
              <a:gd name="T67" fmla="*/ 2147483647 h 40"/>
              <a:gd name="T68" fmla="*/ 2147483647 w 46"/>
              <a:gd name="T69" fmla="*/ 2147483647 h 40"/>
              <a:gd name="T70" fmla="*/ 2147483647 w 46"/>
              <a:gd name="T71" fmla="*/ 2147483647 h 40"/>
              <a:gd name="T72" fmla="*/ 2147483647 w 46"/>
              <a:gd name="T73" fmla="*/ 2147483647 h 40"/>
              <a:gd name="T74" fmla="*/ 2147483647 w 46"/>
              <a:gd name="T75" fmla="*/ 2147483647 h 40"/>
              <a:gd name="T76" fmla="*/ 2147483647 w 46"/>
              <a:gd name="T77" fmla="*/ 2147483647 h 40"/>
              <a:gd name="T78" fmla="*/ 2147483647 w 46"/>
              <a:gd name="T79" fmla="*/ 2147483647 h 40"/>
              <a:gd name="T80" fmla="*/ 2147483647 w 46"/>
              <a:gd name="T81" fmla="*/ 2147483647 h 40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46"/>
              <a:gd name="T124" fmla="*/ 0 h 40"/>
              <a:gd name="T125" fmla="*/ 46 w 46"/>
              <a:gd name="T126" fmla="*/ 40 h 40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46" h="40">
                <a:moveTo>
                  <a:pt x="15" y="23"/>
                </a:moveTo>
                <a:lnTo>
                  <a:pt x="14" y="20"/>
                </a:lnTo>
                <a:lnTo>
                  <a:pt x="15" y="22"/>
                </a:lnTo>
                <a:lnTo>
                  <a:pt x="14" y="20"/>
                </a:lnTo>
                <a:lnTo>
                  <a:pt x="12" y="20"/>
                </a:lnTo>
                <a:lnTo>
                  <a:pt x="12" y="18"/>
                </a:lnTo>
                <a:lnTo>
                  <a:pt x="13" y="17"/>
                </a:lnTo>
                <a:lnTo>
                  <a:pt x="13" y="15"/>
                </a:lnTo>
                <a:lnTo>
                  <a:pt x="12" y="14"/>
                </a:lnTo>
                <a:lnTo>
                  <a:pt x="9" y="14"/>
                </a:lnTo>
                <a:lnTo>
                  <a:pt x="7" y="14"/>
                </a:lnTo>
                <a:lnTo>
                  <a:pt x="7" y="13"/>
                </a:lnTo>
                <a:lnTo>
                  <a:pt x="6" y="11"/>
                </a:lnTo>
                <a:lnTo>
                  <a:pt x="5" y="10"/>
                </a:lnTo>
                <a:lnTo>
                  <a:pt x="3" y="9"/>
                </a:lnTo>
                <a:lnTo>
                  <a:pt x="1" y="9"/>
                </a:lnTo>
                <a:lnTo>
                  <a:pt x="0" y="7"/>
                </a:lnTo>
                <a:lnTo>
                  <a:pt x="2" y="8"/>
                </a:lnTo>
                <a:lnTo>
                  <a:pt x="4" y="8"/>
                </a:lnTo>
                <a:lnTo>
                  <a:pt x="7" y="7"/>
                </a:lnTo>
                <a:lnTo>
                  <a:pt x="8" y="6"/>
                </a:lnTo>
                <a:lnTo>
                  <a:pt x="8" y="4"/>
                </a:lnTo>
                <a:lnTo>
                  <a:pt x="9" y="3"/>
                </a:lnTo>
                <a:lnTo>
                  <a:pt x="11" y="3"/>
                </a:lnTo>
                <a:lnTo>
                  <a:pt x="12" y="2"/>
                </a:lnTo>
                <a:lnTo>
                  <a:pt x="15" y="2"/>
                </a:lnTo>
                <a:lnTo>
                  <a:pt x="20" y="2"/>
                </a:lnTo>
                <a:lnTo>
                  <a:pt x="20" y="0"/>
                </a:lnTo>
                <a:lnTo>
                  <a:pt x="24" y="0"/>
                </a:lnTo>
                <a:lnTo>
                  <a:pt x="26" y="1"/>
                </a:lnTo>
                <a:lnTo>
                  <a:pt x="28" y="1"/>
                </a:lnTo>
                <a:lnTo>
                  <a:pt x="28" y="3"/>
                </a:lnTo>
                <a:lnTo>
                  <a:pt x="29" y="4"/>
                </a:lnTo>
                <a:lnTo>
                  <a:pt x="30" y="3"/>
                </a:lnTo>
                <a:lnTo>
                  <a:pt x="33" y="11"/>
                </a:lnTo>
                <a:lnTo>
                  <a:pt x="33" y="13"/>
                </a:lnTo>
                <a:lnTo>
                  <a:pt x="34" y="15"/>
                </a:lnTo>
                <a:lnTo>
                  <a:pt x="34" y="17"/>
                </a:lnTo>
                <a:lnTo>
                  <a:pt x="35" y="17"/>
                </a:lnTo>
                <a:lnTo>
                  <a:pt x="37" y="18"/>
                </a:lnTo>
                <a:lnTo>
                  <a:pt x="38" y="19"/>
                </a:lnTo>
                <a:lnTo>
                  <a:pt x="39" y="18"/>
                </a:lnTo>
                <a:lnTo>
                  <a:pt x="40" y="17"/>
                </a:lnTo>
                <a:lnTo>
                  <a:pt x="42" y="16"/>
                </a:lnTo>
                <a:lnTo>
                  <a:pt x="43" y="15"/>
                </a:lnTo>
                <a:lnTo>
                  <a:pt x="44" y="17"/>
                </a:lnTo>
                <a:lnTo>
                  <a:pt x="42" y="18"/>
                </a:lnTo>
                <a:lnTo>
                  <a:pt x="43" y="19"/>
                </a:lnTo>
                <a:lnTo>
                  <a:pt x="44" y="19"/>
                </a:lnTo>
                <a:lnTo>
                  <a:pt x="45" y="20"/>
                </a:lnTo>
                <a:lnTo>
                  <a:pt x="45" y="21"/>
                </a:lnTo>
                <a:lnTo>
                  <a:pt x="43" y="22"/>
                </a:lnTo>
                <a:lnTo>
                  <a:pt x="42" y="23"/>
                </a:lnTo>
                <a:lnTo>
                  <a:pt x="43" y="24"/>
                </a:lnTo>
                <a:lnTo>
                  <a:pt x="45" y="24"/>
                </a:lnTo>
                <a:lnTo>
                  <a:pt x="46" y="28"/>
                </a:lnTo>
                <a:lnTo>
                  <a:pt x="43" y="28"/>
                </a:lnTo>
                <a:lnTo>
                  <a:pt x="42" y="29"/>
                </a:lnTo>
                <a:lnTo>
                  <a:pt x="38" y="29"/>
                </a:lnTo>
                <a:lnTo>
                  <a:pt x="36" y="29"/>
                </a:lnTo>
                <a:lnTo>
                  <a:pt x="35" y="31"/>
                </a:lnTo>
                <a:lnTo>
                  <a:pt x="35" y="33"/>
                </a:lnTo>
                <a:lnTo>
                  <a:pt x="37" y="34"/>
                </a:lnTo>
                <a:lnTo>
                  <a:pt x="37" y="36"/>
                </a:lnTo>
                <a:lnTo>
                  <a:pt x="37" y="37"/>
                </a:lnTo>
                <a:lnTo>
                  <a:pt x="37" y="39"/>
                </a:lnTo>
                <a:lnTo>
                  <a:pt x="36" y="38"/>
                </a:lnTo>
                <a:lnTo>
                  <a:pt x="34" y="37"/>
                </a:lnTo>
                <a:lnTo>
                  <a:pt x="32" y="37"/>
                </a:lnTo>
                <a:lnTo>
                  <a:pt x="31" y="38"/>
                </a:lnTo>
                <a:lnTo>
                  <a:pt x="30" y="40"/>
                </a:lnTo>
                <a:lnTo>
                  <a:pt x="28" y="40"/>
                </a:lnTo>
                <a:lnTo>
                  <a:pt x="27" y="38"/>
                </a:lnTo>
                <a:lnTo>
                  <a:pt x="27" y="34"/>
                </a:lnTo>
                <a:lnTo>
                  <a:pt x="24" y="31"/>
                </a:lnTo>
                <a:lnTo>
                  <a:pt x="24" y="29"/>
                </a:lnTo>
                <a:lnTo>
                  <a:pt x="22" y="26"/>
                </a:lnTo>
                <a:lnTo>
                  <a:pt x="21" y="25"/>
                </a:lnTo>
                <a:lnTo>
                  <a:pt x="19" y="25"/>
                </a:lnTo>
                <a:lnTo>
                  <a:pt x="19" y="26"/>
                </a:lnTo>
                <a:lnTo>
                  <a:pt x="17" y="26"/>
                </a:lnTo>
                <a:lnTo>
                  <a:pt x="15" y="23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54" name="Freeform 44"/>
          <p:cNvSpPr>
            <a:spLocks/>
          </p:cNvSpPr>
          <p:nvPr/>
        </p:nvSpPr>
        <p:spPr bwMode="auto">
          <a:xfrm>
            <a:off x="3336482" y="3987799"/>
            <a:ext cx="323850" cy="276225"/>
          </a:xfrm>
          <a:custGeom>
            <a:avLst/>
            <a:gdLst>
              <a:gd name="T0" fmla="*/ 2147483647 w 34"/>
              <a:gd name="T1" fmla="*/ 2147483647 h 29"/>
              <a:gd name="T2" fmla="*/ 2147483647 w 34"/>
              <a:gd name="T3" fmla="*/ 2147483647 h 29"/>
              <a:gd name="T4" fmla="*/ 2147483647 w 34"/>
              <a:gd name="T5" fmla="*/ 2147483647 h 29"/>
              <a:gd name="T6" fmla="*/ 2147483647 w 34"/>
              <a:gd name="T7" fmla="*/ 2147483647 h 29"/>
              <a:gd name="T8" fmla="*/ 2147483647 w 34"/>
              <a:gd name="T9" fmla="*/ 2147483647 h 29"/>
              <a:gd name="T10" fmla="*/ 2147483647 w 34"/>
              <a:gd name="T11" fmla="*/ 2147483647 h 29"/>
              <a:gd name="T12" fmla="*/ 2147483647 w 34"/>
              <a:gd name="T13" fmla="*/ 2147483647 h 29"/>
              <a:gd name="T14" fmla="*/ 2147483647 w 34"/>
              <a:gd name="T15" fmla="*/ 2147483647 h 29"/>
              <a:gd name="T16" fmla="*/ 2147483647 w 34"/>
              <a:gd name="T17" fmla="*/ 2147483647 h 29"/>
              <a:gd name="T18" fmla="*/ 2147483647 w 34"/>
              <a:gd name="T19" fmla="*/ 2147483647 h 29"/>
              <a:gd name="T20" fmla="*/ 2147483647 w 34"/>
              <a:gd name="T21" fmla="*/ 2147483647 h 29"/>
              <a:gd name="T22" fmla="*/ 2147483647 w 34"/>
              <a:gd name="T23" fmla="*/ 2147483647 h 29"/>
              <a:gd name="T24" fmla="*/ 2147483647 w 34"/>
              <a:gd name="T25" fmla="*/ 2147483647 h 29"/>
              <a:gd name="T26" fmla="*/ 2147483647 w 34"/>
              <a:gd name="T27" fmla="*/ 2147483647 h 29"/>
              <a:gd name="T28" fmla="*/ 2147483647 w 34"/>
              <a:gd name="T29" fmla="*/ 2147483647 h 29"/>
              <a:gd name="T30" fmla="*/ 2147483647 w 34"/>
              <a:gd name="T31" fmla="*/ 2147483647 h 29"/>
              <a:gd name="T32" fmla="*/ 2147483647 w 34"/>
              <a:gd name="T33" fmla="*/ 2147483647 h 29"/>
              <a:gd name="T34" fmla="*/ 2147483647 w 34"/>
              <a:gd name="T35" fmla="*/ 0 h 29"/>
              <a:gd name="T36" fmla="*/ 2147483647 w 34"/>
              <a:gd name="T37" fmla="*/ 0 h 29"/>
              <a:gd name="T38" fmla="*/ 2147483647 w 34"/>
              <a:gd name="T39" fmla="*/ 2147483647 h 29"/>
              <a:gd name="T40" fmla="*/ 2147483647 w 34"/>
              <a:gd name="T41" fmla="*/ 2147483647 h 29"/>
              <a:gd name="T42" fmla="*/ 2147483647 w 34"/>
              <a:gd name="T43" fmla="*/ 2147483647 h 29"/>
              <a:gd name="T44" fmla="*/ 2147483647 w 34"/>
              <a:gd name="T45" fmla="*/ 2147483647 h 29"/>
              <a:gd name="T46" fmla="*/ 2147483647 w 34"/>
              <a:gd name="T47" fmla="*/ 2147483647 h 29"/>
              <a:gd name="T48" fmla="*/ 0 w 34"/>
              <a:gd name="T49" fmla="*/ 2147483647 h 29"/>
              <a:gd name="T50" fmla="*/ 0 w 34"/>
              <a:gd name="T51" fmla="*/ 2147483647 h 29"/>
              <a:gd name="T52" fmla="*/ 2147483647 w 34"/>
              <a:gd name="T53" fmla="*/ 2147483647 h 29"/>
              <a:gd name="T54" fmla="*/ 2147483647 w 34"/>
              <a:gd name="T55" fmla="*/ 2147483647 h 29"/>
              <a:gd name="T56" fmla="*/ 2147483647 w 34"/>
              <a:gd name="T57" fmla="*/ 2147483647 h 29"/>
              <a:gd name="T58" fmla="*/ 2147483647 w 34"/>
              <a:gd name="T59" fmla="*/ 2147483647 h 29"/>
              <a:gd name="T60" fmla="*/ 2147483647 w 34"/>
              <a:gd name="T61" fmla="*/ 2147483647 h 29"/>
              <a:gd name="T62" fmla="*/ 2147483647 w 34"/>
              <a:gd name="T63" fmla="*/ 2147483647 h 29"/>
              <a:gd name="T64" fmla="*/ 2147483647 w 34"/>
              <a:gd name="T65" fmla="*/ 2147483647 h 29"/>
              <a:gd name="T66" fmla="*/ 2147483647 w 34"/>
              <a:gd name="T67" fmla="*/ 2147483647 h 29"/>
              <a:gd name="T68" fmla="*/ 2147483647 w 34"/>
              <a:gd name="T69" fmla="*/ 2147483647 h 29"/>
              <a:gd name="T70" fmla="*/ 2147483647 w 34"/>
              <a:gd name="T71" fmla="*/ 2147483647 h 29"/>
              <a:gd name="T72" fmla="*/ 2147483647 w 34"/>
              <a:gd name="T73" fmla="*/ 2147483647 h 29"/>
              <a:gd name="T74" fmla="*/ 2147483647 w 34"/>
              <a:gd name="T75" fmla="*/ 2147483647 h 29"/>
              <a:gd name="T76" fmla="*/ 2147483647 w 34"/>
              <a:gd name="T77" fmla="*/ 2147483647 h 29"/>
              <a:gd name="T78" fmla="*/ 2147483647 w 34"/>
              <a:gd name="T79" fmla="*/ 2147483647 h 29"/>
              <a:gd name="T80" fmla="*/ 2147483647 w 34"/>
              <a:gd name="T81" fmla="*/ 2147483647 h 29"/>
              <a:gd name="T82" fmla="*/ 2147483647 w 34"/>
              <a:gd name="T83" fmla="*/ 2147483647 h 29"/>
              <a:gd name="T84" fmla="*/ 2147483647 w 34"/>
              <a:gd name="T85" fmla="*/ 2147483647 h 29"/>
              <a:gd name="T86" fmla="*/ 2147483647 w 34"/>
              <a:gd name="T87" fmla="*/ 2147483647 h 29"/>
              <a:gd name="T88" fmla="*/ 2147483647 w 34"/>
              <a:gd name="T89" fmla="*/ 2147483647 h 29"/>
              <a:gd name="T90" fmla="*/ 2147483647 w 34"/>
              <a:gd name="T91" fmla="*/ 2147483647 h 29"/>
              <a:gd name="T92" fmla="*/ 2147483647 w 34"/>
              <a:gd name="T93" fmla="*/ 2147483647 h 29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34"/>
              <a:gd name="T142" fmla="*/ 0 h 29"/>
              <a:gd name="T143" fmla="*/ 34 w 34"/>
              <a:gd name="T144" fmla="*/ 29 h 29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34" h="29">
                <a:moveTo>
                  <a:pt x="34" y="10"/>
                </a:moveTo>
                <a:lnTo>
                  <a:pt x="34" y="8"/>
                </a:lnTo>
                <a:lnTo>
                  <a:pt x="32" y="5"/>
                </a:lnTo>
                <a:lnTo>
                  <a:pt x="31" y="4"/>
                </a:lnTo>
                <a:lnTo>
                  <a:pt x="29" y="4"/>
                </a:lnTo>
                <a:lnTo>
                  <a:pt x="29" y="5"/>
                </a:lnTo>
                <a:lnTo>
                  <a:pt x="27" y="5"/>
                </a:lnTo>
                <a:lnTo>
                  <a:pt x="25" y="2"/>
                </a:lnTo>
                <a:lnTo>
                  <a:pt x="25" y="1"/>
                </a:lnTo>
                <a:lnTo>
                  <a:pt x="24" y="2"/>
                </a:lnTo>
                <a:lnTo>
                  <a:pt x="23" y="3"/>
                </a:lnTo>
                <a:lnTo>
                  <a:pt x="22" y="5"/>
                </a:lnTo>
                <a:lnTo>
                  <a:pt x="19" y="6"/>
                </a:lnTo>
                <a:lnTo>
                  <a:pt x="17" y="6"/>
                </a:lnTo>
                <a:lnTo>
                  <a:pt x="15" y="5"/>
                </a:lnTo>
                <a:lnTo>
                  <a:pt x="13" y="3"/>
                </a:lnTo>
                <a:lnTo>
                  <a:pt x="11" y="1"/>
                </a:lnTo>
                <a:lnTo>
                  <a:pt x="9" y="0"/>
                </a:lnTo>
                <a:lnTo>
                  <a:pt x="6" y="0"/>
                </a:lnTo>
                <a:lnTo>
                  <a:pt x="3" y="1"/>
                </a:lnTo>
                <a:lnTo>
                  <a:pt x="1" y="3"/>
                </a:lnTo>
                <a:lnTo>
                  <a:pt x="1" y="5"/>
                </a:lnTo>
                <a:lnTo>
                  <a:pt x="3" y="6"/>
                </a:lnTo>
                <a:lnTo>
                  <a:pt x="3" y="9"/>
                </a:lnTo>
                <a:lnTo>
                  <a:pt x="0" y="9"/>
                </a:lnTo>
                <a:lnTo>
                  <a:pt x="1" y="11"/>
                </a:lnTo>
                <a:lnTo>
                  <a:pt x="1" y="13"/>
                </a:lnTo>
                <a:lnTo>
                  <a:pt x="2" y="15"/>
                </a:lnTo>
                <a:lnTo>
                  <a:pt x="3" y="17"/>
                </a:lnTo>
                <a:lnTo>
                  <a:pt x="4" y="18"/>
                </a:lnTo>
                <a:lnTo>
                  <a:pt x="5" y="22"/>
                </a:lnTo>
                <a:lnTo>
                  <a:pt x="5" y="23"/>
                </a:lnTo>
                <a:lnTo>
                  <a:pt x="5" y="24"/>
                </a:lnTo>
                <a:lnTo>
                  <a:pt x="6" y="26"/>
                </a:lnTo>
                <a:lnTo>
                  <a:pt x="7" y="28"/>
                </a:lnTo>
                <a:lnTo>
                  <a:pt x="7" y="29"/>
                </a:lnTo>
                <a:lnTo>
                  <a:pt x="13" y="29"/>
                </a:lnTo>
                <a:lnTo>
                  <a:pt x="15" y="26"/>
                </a:lnTo>
                <a:lnTo>
                  <a:pt x="20" y="24"/>
                </a:lnTo>
                <a:lnTo>
                  <a:pt x="23" y="24"/>
                </a:lnTo>
                <a:lnTo>
                  <a:pt x="26" y="22"/>
                </a:lnTo>
                <a:lnTo>
                  <a:pt x="27" y="19"/>
                </a:lnTo>
                <a:lnTo>
                  <a:pt x="31" y="17"/>
                </a:lnTo>
                <a:lnTo>
                  <a:pt x="33" y="16"/>
                </a:lnTo>
                <a:lnTo>
                  <a:pt x="33" y="13"/>
                </a:lnTo>
                <a:cubicBezTo>
                  <a:pt x="33" y="13"/>
                  <a:pt x="34" y="10"/>
                  <a:pt x="34" y="10"/>
                </a:cubicBez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55" name="Freeform 45"/>
          <p:cNvSpPr>
            <a:spLocks/>
          </p:cNvSpPr>
          <p:nvPr/>
        </p:nvSpPr>
        <p:spPr bwMode="auto">
          <a:xfrm>
            <a:off x="3393632" y="4083049"/>
            <a:ext cx="609600" cy="733425"/>
          </a:xfrm>
          <a:custGeom>
            <a:avLst/>
            <a:gdLst>
              <a:gd name="T0" fmla="*/ 2147483647 w 64"/>
              <a:gd name="T1" fmla="*/ 2147483647 h 77"/>
              <a:gd name="T2" fmla="*/ 2147483647 w 64"/>
              <a:gd name="T3" fmla="*/ 0 h 77"/>
              <a:gd name="T4" fmla="*/ 2147483647 w 64"/>
              <a:gd name="T5" fmla="*/ 2147483647 h 77"/>
              <a:gd name="T6" fmla="*/ 2147483647 w 64"/>
              <a:gd name="T7" fmla="*/ 2147483647 h 77"/>
              <a:gd name="T8" fmla="*/ 2147483647 w 64"/>
              <a:gd name="T9" fmla="*/ 2147483647 h 77"/>
              <a:gd name="T10" fmla="*/ 2147483647 w 64"/>
              <a:gd name="T11" fmla="*/ 2147483647 h 77"/>
              <a:gd name="T12" fmla="*/ 2147483647 w 64"/>
              <a:gd name="T13" fmla="*/ 2147483647 h 77"/>
              <a:gd name="T14" fmla="*/ 0 w 64"/>
              <a:gd name="T15" fmla="*/ 2147483647 h 77"/>
              <a:gd name="T16" fmla="*/ 2147483647 w 64"/>
              <a:gd name="T17" fmla="*/ 2147483647 h 77"/>
              <a:gd name="T18" fmla="*/ 2147483647 w 64"/>
              <a:gd name="T19" fmla="*/ 2147483647 h 77"/>
              <a:gd name="T20" fmla="*/ 2147483647 w 64"/>
              <a:gd name="T21" fmla="*/ 2147483647 h 77"/>
              <a:gd name="T22" fmla="*/ 2147483647 w 64"/>
              <a:gd name="T23" fmla="*/ 2147483647 h 77"/>
              <a:gd name="T24" fmla="*/ 2147483647 w 64"/>
              <a:gd name="T25" fmla="*/ 2147483647 h 77"/>
              <a:gd name="T26" fmla="*/ 2147483647 w 64"/>
              <a:gd name="T27" fmla="*/ 2147483647 h 77"/>
              <a:gd name="T28" fmla="*/ 2147483647 w 64"/>
              <a:gd name="T29" fmla="*/ 2147483647 h 77"/>
              <a:gd name="T30" fmla="*/ 2147483647 w 64"/>
              <a:gd name="T31" fmla="*/ 2147483647 h 77"/>
              <a:gd name="T32" fmla="*/ 2147483647 w 64"/>
              <a:gd name="T33" fmla="*/ 2147483647 h 77"/>
              <a:gd name="T34" fmla="*/ 2147483647 w 64"/>
              <a:gd name="T35" fmla="*/ 2147483647 h 77"/>
              <a:gd name="T36" fmla="*/ 2147483647 w 64"/>
              <a:gd name="T37" fmla="*/ 2147483647 h 77"/>
              <a:gd name="T38" fmla="*/ 2147483647 w 64"/>
              <a:gd name="T39" fmla="*/ 2147483647 h 77"/>
              <a:gd name="T40" fmla="*/ 2147483647 w 64"/>
              <a:gd name="T41" fmla="*/ 2147483647 h 77"/>
              <a:gd name="T42" fmla="*/ 2147483647 w 64"/>
              <a:gd name="T43" fmla="*/ 2147483647 h 77"/>
              <a:gd name="T44" fmla="*/ 2147483647 w 64"/>
              <a:gd name="T45" fmla="*/ 2147483647 h 77"/>
              <a:gd name="T46" fmla="*/ 2147483647 w 64"/>
              <a:gd name="T47" fmla="*/ 2147483647 h 77"/>
              <a:gd name="T48" fmla="*/ 2147483647 w 64"/>
              <a:gd name="T49" fmla="*/ 2147483647 h 77"/>
              <a:gd name="T50" fmla="*/ 2147483647 w 64"/>
              <a:gd name="T51" fmla="*/ 2147483647 h 77"/>
              <a:gd name="T52" fmla="*/ 2147483647 w 64"/>
              <a:gd name="T53" fmla="*/ 2147483647 h 77"/>
              <a:gd name="T54" fmla="*/ 2147483647 w 64"/>
              <a:gd name="T55" fmla="*/ 2147483647 h 77"/>
              <a:gd name="T56" fmla="*/ 2147483647 w 64"/>
              <a:gd name="T57" fmla="*/ 2147483647 h 77"/>
              <a:gd name="T58" fmla="*/ 2147483647 w 64"/>
              <a:gd name="T59" fmla="*/ 2147483647 h 77"/>
              <a:gd name="T60" fmla="*/ 2147483647 w 64"/>
              <a:gd name="T61" fmla="*/ 2147483647 h 77"/>
              <a:gd name="T62" fmla="*/ 2147483647 w 64"/>
              <a:gd name="T63" fmla="*/ 2147483647 h 77"/>
              <a:gd name="T64" fmla="*/ 2147483647 w 64"/>
              <a:gd name="T65" fmla="*/ 2147483647 h 77"/>
              <a:gd name="T66" fmla="*/ 2147483647 w 64"/>
              <a:gd name="T67" fmla="*/ 2147483647 h 77"/>
              <a:gd name="T68" fmla="*/ 2147483647 w 64"/>
              <a:gd name="T69" fmla="*/ 2147483647 h 77"/>
              <a:gd name="T70" fmla="*/ 2147483647 w 64"/>
              <a:gd name="T71" fmla="*/ 2147483647 h 77"/>
              <a:gd name="T72" fmla="*/ 2147483647 w 64"/>
              <a:gd name="T73" fmla="*/ 2147483647 h 77"/>
              <a:gd name="T74" fmla="*/ 2147483647 w 64"/>
              <a:gd name="T75" fmla="*/ 2147483647 h 77"/>
              <a:gd name="T76" fmla="*/ 2147483647 w 64"/>
              <a:gd name="T77" fmla="*/ 2147483647 h 77"/>
              <a:gd name="T78" fmla="*/ 2147483647 w 64"/>
              <a:gd name="T79" fmla="*/ 2147483647 h 77"/>
              <a:gd name="T80" fmla="*/ 2147483647 w 64"/>
              <a:gd name="T81" fmla="*/ 2147483647 h 77"/>
              <a:gd name="T82" fmla="*/ 2147483647 w 64"/>
              <a:gd name="T83" fmla="*/ 2147483647 h 77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64"/>
              <a:gd name="T127" fmla="*/ 0 h 77"/>
              <a:gd name="T128" fmla="*/ 64 w 64"/>
              <a:gd name="T129" fmla="*/ 77 h 77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64" h="77">
                <a:moveTo>
                  <a:pt x="32" y="9"/>
                </a:moveTo>
                <a:lnTo>
                  <a:pt x="31" y="7"/>
                </a:lnTo>
                <a:lnTo>
                  <a:pt x="31" y="3"/>
                </a:lnTo>
                <a:lnTo>
                  <a:pt x="28" y="0"/>
                </a:lnTo>
                <a:cubicBezTo>
                  <a:pt x="28" y="0"/>
                  <a:pt x="27" y="3"/>
                  <a:pt x="27" y="3"/>
                </a:cubicBezTo>
                <a:lnTo>
                  <a:pt x="27" y="6"/>
                </a:lnTo>
                <a:lnTo>
                  <a:pt x="25" y="7"/>
                </a:lnTo>
                <a:lnTo>
                  <a:pt x="21" y="9"/>
                </a:lnTo>
                <a:lnTo>
                  <a:pt x="20" y="12"/>
                </a:lnTo>
                <a:lnTo>
                  <a:pt x="17" y="14"/>
                </a:lnTo>
                <a:lnTo>
                  <a:pt x="14" y="14"/>
                </a:lnTo>
                <a:lnTo>
                  <a:pt x="9" y="16"/>
                </a:lnTo>
                <a:lnTo>
                  <a:pt x="7" y="19"/>
                </a:lnTo>
                <a:lnTo>
                  <a:pt x="1" y="19"/>
                </a:lnTo>
                <a:lnTo>
                  <a:pt x="0" y="23"/>
                </a:lnTo>
                <a:lnTo>
                  <a:pt x="2" y="28"/>
                </a:lnTo>
                <a:lnTo>
                  <a:pt x="4" y="28"/>
                </a:lnTo>
                <a:lnTo>
                  <a:pt x="6" y="25"/>
                </a:lnTo>
                <a:lnTo>
                  <a:pt x="8" y="27"/>
                </a:lnTo>
                <a:lnTo>
                  <a:pt x="8" y="30"/>
                </a:lnTo>
                <a:lnTo>
                  <a:pt x="7" y="31"/>
                </a:lnTo>
                <a:lnTo>
                  <a:pt x="7" y="33"/>
                </a:lnTo>
                <a:lnTo>
                  <a:pt x="11" y="34"/>
                </a:lnTo>
                <a:lnTo>
                  <a:pt x="13" y="37"/>
                </a:lnTo>
                <a:lnTo>
                  <a:pt x="13" y="41"/>
                </a:lnTo>
                <a:lnTo>
                  <a:pt x="14" y="43"/>
                </a:lnTo>
                <a:lnTo>
                  <a:pt x="13" y="45"/>
                </a:lnTo>
                <a:lnTo>
                  <a:pt x="13" y="49"/>
                </a:lnTo>
                <a:lnTo>
                  <a:pt x="14" y="51"/>
                </a:lnTo>
                <a:lnTo>
                  <a:pt x="17" y="49"/>
                </a:lnTo>
                <a:lnTo>
                  <a:pt x="18" y="47"/>
                </a:lnTo>
                <a:lnTo>
                  <a:pt x="19" y="47"/>
                </a:lnTo>
                <a:lnTo>
                  <a:pt x="20" y="51"/>
                </a:lnTo>
                <a:lnTo>
                  <a:pt x="21" y="55"/>
                </a:lnTo>
                <a:lnTo>
                  <a:pt x="23" y="56"/>
                </a:lnTo>
                <a:lnTo>
                  <a:pt x="25" y="56"/>
                </a:lnTo>
                <a:lnTo>
                  <a:pt x="27" y="53"/>
                </a:lnTo>
                <a:lnTo>
                  <a:pt x="30" y="54"/>
                </a:lnTo>
                <a:lnTo>
                  <a:pt x="32" y="56"/>
                </a:lnTo>
                <a:lnTo>
                  <a:pt x="32" y="60"/>
                </a:lnTo>
                <a:lnTo>
                  <a:pt x="35" y="62"/>
                </a:lnTo>
                <a:lnTo>
                  <a:pt x="37" y="61"/>
                </a:lnTo>
                <a:lnTo>
                  <a:pt x="38" y="59"/>
                </a:lnTo>
                <a:lnTo>
                  <a:pt x="40" y="60"/>
                </a:lnTo>
                <a:lnTo>
                  <a:pt x="42" y="62"/>
                </a:lnTo>
                <a:lnTo>
                  <a:pt x="42" y="69"/>
                </a:lnTo>
                <a:lnTo>
                  <a:pt x="44" y="71"/>
                </a:lnTo>
                <a:lnTo>
                  <a:pt x="46" y="74"/>
                </a:lnTo>
                <a:lnTo>
                  <a:pt x="49" y="74"/>
                </a:lnTo>
                <a:lnTo>
                  <a:pt x="50" y="70"/>
                </a:lnTo>
                <a:lnTo>
                  <a:pt x="52" y="71"/>
                </a:lnTo>
                <a:lnTo>
                  <a:pt x="52" y="75"/>
                </a:lnTo>
                <a:lnTo>
                  <a:pt x="56" y="76"/>
                </a:lnTo>
                <a:lnTo>
                  <a:pt x="59" y="77"/>
                </a:lnTo>
                <a:lnTo>
                  <a:pt x="61" y="75"/>
                </a:lnTo>
                <a:lnTo>
                  <a:pt x="64" y="72"/>
                </a:lnTo>
                <a:lnTo>
                  <a:pt x="63" y="68"/>
                </a:lnTo>
                <a:lnTo>
                  <a:pt x="60" y="64"/>
                </a:lnTo>
                <a:lnTo>
                  <a:pt x="58" y="61"/>
                </a:lnTo>
                <a:lnTo>
                  <a:pt x="57" y="58"/>
                </a:lnTo>
                <a:lnTo>
                  <a:pt x="60" y="55"/>
                </a:lnTo>
                <a:lnTo>
                  <a:pt x="60" y="52"/>
                </a:lnTo>
                <a:lnTo>
                  <a:pt x="57" y="51"/>
                </a:lnTo>
                <a:lnTo>
                  <a:pt x="51" y="50"/>
                </a:lnTo>
                <a:lnTo>
                  <a:pt x="48" y="54"/>
                </a:lnTo>
                <a:lnTo>
                  <a:pt x="45" y="54"/>
                </a:lnTo>
                <a:lnTo>
                  <a:pt x="42" y="50"/>
                </a:lnTo>
                <a:lnTo>
                  <a:pt x="37" y="50"/>
                </a:lnTo>
                <a:lnTo>
                  <a:pt x="35" y="48"/>
                </a:lnTo>
                <a:lnTo>
                  <a:pt x="35" y="45"/>
                </a:lnTo>
                <a:lnTo>
                  <a:pt x="37" y="45"/>
                </a:lnTo>
                <a:lnTo>
                  <a:pt x="37" y="43"/>
                </a:lnTo>
                <a:lnTo>
                  <a:pt x="36" y="42"/>
                </a:lnTo>
                <a:lnTo>
                  <a:pt x="36" y="41"/>
                </a:lnTo>
                <a:lnTo>
                  <a:pt x="38" y="40"/>
                </a:lnTo>
                <a:lnTo>
                  <a:pt x="39" y="39"/>
                </a:lnTo>
                <a:lnTo>
                  <a:pt x="38" y="36"/>
                </a:lnTo>
                <a:lnTo>
                  <a:pt x="34" y="36"/>
                </a:lnTo>
                <a:lnTo>
                  <a:pt x="33" y="32"/>
                </a:lnTo>
                <a:lnTo>
                  <a:pt x="35" y="30"/>
                </a:lnTo>
                <a:lnTo>
                  <a:pt x="33" y="26"/>
                </a:lnTo>
                <a:lnTo>
                  <a:pt x="34" y="21"/>
                </a:lnTo>
                <a:lnTo>
                  <a:pt x="32" y="19"/>
                </a:lnTo>
                <a:cubicBezTo>
                  <a:pt x="32" y="19"/>
                  <a:pt x="33" y="9"/>
                  <a:pt x="32" y="9"/>
                </a:cubicBez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 anchor="b"/>
          <a:lstStyle/>
          <a:p>
            <a:endParaRPr lang="ru-RU"/>
          </a:p>
        </p:txBody>
      </p:sp>
      <p:sp>
        <p:nvSpPr>
          <p:cNvPr id="56" name="Freeform 46"/>
          <p:cNvSpPr>
            <a:spLocks/>
          </p:cNvSpPr>
          <p:nvPr/>
        </p:nvSpPr>
        <p:spPr bwMode="auto">
          <a:xfrm>
            <a:off x="3698432" y="3997324"/>
            <a:ext cx="457200" cy="600075"/>
          </a:xfrm>
          <a:custGeom>
            <a:avLst/>
            <a:gdLst>
              <a:gd name="T0" fmla="*/ 2147483647 w 48"/>
              <a:gd name="T1" fmla="*/ 2147483647 h 63"/>
              <a:gd name="T2" fmla="*/ 2147483647 w 48"/>
              <a:gd name="T3" fmla="*/ 2147483647 h 63"/>
              <a:gd name="T4" fmla="*/ 2147483647 w 48"/>
              <a:gd name="T5" fmla="*/ 2147483647 h 63"/>
              <a:gd name="T6" fmla="*/ 2147483647 w 48"/>
              <a:gd name="T7" fmla="*/ 2147483647 h 63"/>
              <a:gd name="T8" fmla="*/ 2147483647 w 48"/>
              <a:gd name="T9" fmla="*/ 2147483647 h 63"/>
              <a:gd name="T10" fmla="*/ 2147483647 w 48"/>
              <a:gd name="T11" fmla="*/ 2147483647 h 63"/>
              <a:gd name="T12" fmla="*/ 2147483647 w 48"/>
              <a:gd name="T13" fmla="*/ 2147483647 h 63"/>
              <a:gd name="T14" fmla="*/ 2147483647 w 48"/>
              <a:gd name="T15" fmla="*/ 2147483647 h 63"/>
              <a:gd name="T16" fmla="*/ 2147483647 w 48"/>
              <a:gd name="T17" fmla="*/ 2147483647 h 63"/>
              <a:gd name="T18" fmla="*/ 2147483647 w 48"/>
              <a:gd name="T19" fmla="*/ 2147483647 h 63"/>
              <a:gd name="T20" fmla="*/ 0 w 48"/>
              <a:gd name="T21" fmla="*/ 2147483647 h 63"/>
              <a:gd name="T22" fmla="*/ 2147483647 w 48"/>
              <a:gd name="T23" fmla="*/ 2147483647 h 63"/>
              <a:gd name="T24" fmla="*/ 2147483647 w 48"/>
              <a:gd name="T25" fmla="*/ 2147483647 h 63"/>
              <a:gd name="T26" fmla="*/ 2147483647 w 48"/>
              <a:gd name="T27" fmla="*/ 2147483647 h 63"/>
              <a:gd name="T28" fmla="*/ 2147483647 w 48"/>
              <a:gd name="T29" fmla="*/ 2147483647 h 63"/>
              <a:gd name="T30" fmla="*/ 2147483647 w 48"/>
              <a:gd name="T31" fmla="*/ 2147483647 h 63"/>
              <a:gd name="T32" fmla="*/ 2147483647 w 48"/>
              <a:gd name="T33" fmla="*/ 2147483647 h 63"/>
              <a:gd name="T34" fmla="*/ 2147483647 w 48"/>
              <a:gd name="T35" fmla="*/ 2147483647 h 63"/>
              <a:gd name="T36" fmla="*/ 2147483647 w 48"/>
              <a:gd name="T37" fmla="*/ 2147483647 h 63"/>
              <a:gd name="T38" fmla="*/ 2147483647 w 48"/>
              <a:gd name="T39" fmla="*/ 2147483647 h 63"/>
              <a:gd name="T40" fmla="*/ 2147483647 w 48"/>
              <a:gd name="T41" fmla="*/ 0 h 63"/>
              <a:gd name="T42" fmla="*/ 2147483647 w 48"/>
              <a:gd name="T43" fmla="*/ 2147483647 h 63"/>
              <a:gd name="T44" fmla="*/ 2147483647 w 48"/>
              <a:gd name="T45" fmla="*/ 2147483647 h 63"/>
              <a:gd name="T46" fmla="*/ 2147483647 w 48"/>
              <a:gd name="T47" fmla="*/ 2147483647 h 63"/>
              <a:gd name="T48" fmla="*/ 2147483647 w 48"/>
              <a:gd name="T49" fmla="*/ 2147483647 h 63"/>
              <a:gd name="T50" fmla="*/ 2147483647 w 48"/>
              <a:gd name="T51" fmla="*/ 2147483647 h 63"/>
              <a:gd name="T52" fmla="*/ 2147483647 w 48"/>
              <a:gd name="T53" fmla="*/ 2147483647 h 63"/>
              <a:gd name="T54" fmla="*/ 2147483647 w 48"/>
              <a:gd name="T55" fmla="*/ 2147483647 h 63"/>
              <a:gd name="T56" fmla="*/ 2147483647 w 48"/>
              <a:gd name="T57" fmla="*/ 2147483647 h 63"/>
              <a:gd name="T58" fmla="*/ 2147483647 w 48"/>
              <a:gd name="T59" fmla="*/ 2147483647 h 63"/>
              <a:gd name="T60" fmla="*/ 2147483647 w 48"/>
              <a:gd name="T61" fmla="*/ 2147483647 h 63"/>
              <a:gd name="T62" fmla="*/ 2147483647 w 48"/>
              <a:gd name="T63" fmla="*/ 2147483647 h 63"/>
              <a:gd name="T64" fmla="*/ 2147483647 w 48"/>
              <a:gd name="T65" fmla="*/ 2147483647 h 63"/>
              <a:gd name="T66" fmla="*/ 2147483647 w 48"/>
              <a:gd name="T67" fmla="*/ 2147483647 h 63"/>
              <a:gd name="T68" fmla="*/ 2147483647 w 48"/>
              <a:gd name="T69" fmla="*/ 2147483647 h 63"/>
              <a:gd name="T70" fmla="*/ 2147483647 w 48"/>
              <a:gd name="T71" fmla="*/ 2147483647 h 63"/>
              <a:gd name="T72" fmla="*/ 2147483647 w 48"/>
              <a:gd name="T73" fmla="*/ 2147483647 h 63"/>
              <a:gd name="T74" fmla="*/ 2147483647 w 48"/>
              <a:gd name="T75" fmla="*/ 2147483647 h 63"/>
              <a:gd name="T76" fmla="*/ 2147483647 w 48"/>
              <a:gd name="T77" fmla="*/ 2147483647 h 63"/>
              <a:gd name="T78" fmla="*/ 2147483647 w 48"/>
              <a:gd name="T79" fmla="*/ 2147483647 h 63"/>
              <a:gd name="T80" fmla="*/ 2147483647 w 48"/>
              <a:gd name="T81" fmla="*/ 2147483647 h 63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48"/>
              <a:gd name="T124" fmla="*/ 0 h 63"/>
              <a:gd name="T125" fmla="*/ 48 w 48"/>
              <a:gd name="T126" fmla="*/ 63 h 63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48" h="63">
                <a:moveTo>
                  <a:pt x="22" y="60"/>
                </a:moveTo>
                <a:lnTo>
                  <a:pt x="19" y="59"/>
                </a:lnTo>
                <a:lnTo>
                  <a:pt x="16" y="63"/>
                </a:lnTo>
                <a:lnTo>
                  <a:pt x="13" y="63"/>
                </a:lnTo>
                <a:lnTo>
                  <a:pt x="10" y="59"/>
                </a:lnTo>
                <a:lnTo>
                  <a:pt x="5" y="59"/>
                </a:lnTo>
                <a:lnTo>
                  <a:pt x="3" y="57"/>
                </a:lnTo>
                <a:lnTo>
                  <a:pt x="3" y="54"/>
                </a:lnTo>
                <a:lnTo>
                  <a:pt x="5" y="54"/>
                </a:lnTo>
                <a:lnTo>
                  <a:pt x="5" y="52"/>
                </a:lnTo>
                <a:lnTo>
                  <a:pt x="4" y="51"/>
                </a:lnTo>
                <a:lnTo>
                  <a:pt x="4" y="50"/>
                </a:lnTo>
                <a:lnTo>
                  <a:pt x="6" y="49"/>
                </a:lnTo>
                <a:lnTo>
                  <a:pt x="7" y="48"/>
                </a:lnTo>
                <a:lnTo>
                  <a:pt x="6" y="45"/>
                </a:lnTo>
                <a:lnTo>
                  <a:pt x="2" y="45"/>
                </a:lnTo>
                <a:lnTo>
                  <a:pt x="1" y="41"/>
                </a:lnTo>
                <a:lnTo>
                  <a:pt x="3" y="39"/>
                </a:lnTo>
                <a:lnTo>
                  <a:pt x="1" y="35"/>
                </a:lnTo>
                <a:lnTo>
                  <a:pt x="2" y="30"/>
                </a:lnTo>
                <a:lnTo>
                  <a:pt x="0" y="28"/>
                </a:lnTo>
                <a:cubicBezTo>
                  <a:pt x="0" y="28"/>
                  <a:pt x="1" y="18"/>
                  <a:pt x="0" y="18"/>
                </a:cubicBezTo>
                <a:lnTo>
                  <a:pt x="2" y="18"/>
                </a:lnTo>
                <a:lnTo>
                  <a:pt x="3" y="16"/>
                </a:lnTo>
                <a:lnTo>
                  <a:pt x="4" y="15"/>
                </a:lnTo>
                <a:lnTo>
                  <a:pt x="6" y="15"/>
                </a:lnTo>
                <a:lnTo>
                  <a:pt x="8" y="16"/>
                </a:lnTo>
                <a:lnTo>
                  <a:pt x="9" y="17"/>
                </a:lnTo>
                <a:lnTo>
                  <a:pt x="9" y="15"/>
                </a:lnTo>
                <a:lnTo>
                  <a:pt x="9" y="14"/>
                </a:lnTo>
                <a:lnTo>
                  <a:pt x="9" y="12"/>
                </a:lnTo>
                <a:lnTo>
                  <a:pt x="7" y="11"/>
                </a:lnTo>
                <a:lnTo>
                  <a:pt x="7" y="9"/>
                </a:lnTo>
                <a:lnTo>
                  <a:pt x="8" y="7"/>
                </a:lnTo>
                <a:lnTo>
                  <a:pt x="10" y="7"/>
                </a:lnTo>
                <a:lnTo>
                  <a:pt x="14" y="7"/>
                </a:lnTo>
                <a:lnTo>
                  <a:pt x="15" y="6"/>
                </a:lnTo>
                <a:lnTo>
                  <a:pt x="18" y="6"/>
                </a:lnTo>
                <a:lnTo>
                  <a:pt x="17" y="2"/>
                </a:lnTo>
                <a:lnTo>
                  <a:pt x="20" y="2"/>
                </a:lnTo>
                <a:lnTo>
                  <a:pt x="23" y="0"/>
                </a:lnTo>
                <a:lnTo>
                  <a:pt x="25" y="0"/>
                </a:lnTo>
                <a:lnTo>
                  <a:pt x="25" y="4"/>
                </a:lnTo>
                <a:lnTo>
                  <a:pt x="31" y="4"/>
                </a:lnTo>
                <a:lnTo>
                  <a:pt x="31" y="8"/>
                </a:lnTo>
                <a:lnTo>
                  <a:pt x="35" y="10"/>
                </a:lnTo>
                <a:lnTo>
                  <a:pt x="35" y="13"/>
                </a:lnTo>
                <a:lnTo>
                  <a:pt x="38" y="13"/>
                </a:lnTo>
                <a:lnTo>
                  <a:pt x="40" y="16"/>
                </a:lnTo>
                <a:lnTo>
                  <a:pt x="42" y="18"/>
                </a:lnTo>
                <a:lnTo>
                  <a:pt x="45" y="20"/>
                </a:lnTo>
                <a:lnTo>
                  <a:pt x="48" y="20"/>
                </a:lnTo>
                <a:lnTo>
                  <a:pt x="47" y="25"/>
                </a:lnTo>
                <a:lnTo>
                  <a:pt x="46" y="28"/>
                </a:lnTo>
                <a:lnTo>
                  <a:pt x="47" y="31"/>
                </a:lnTo>
                <a:lnTo>
                  <a:pt x="47" y="33"/>
                </a:lnTo>
                <a:lnTo>
                  <a:pt x="44" y="32"/>
                </a:lnTo>
                <a:lnTo>
                  <a:pt x="41" y="30"/>
                </a:lnTo>
                <a:lnTo>
                  <a:pt x="36" y="30"/>
                </a:lnTo>
                <a:lnTo>
                  <a:pt x="36" y="26"/>
                </a:lnTo>
                <a:lnTo>
                  <a:pt x="33" y="23"/>
                </a:lnTo>
                <a:lnTo>
                  <a:pt x="29" y="23"/>
                </a:lnTo>
                <a:lnTo>
                  <a:pt x="27" y="26"/>
                </a:lnTo>
                <a:lnTo>
                  <a:pt x="27" y="30"/>
                </a:lnTo>
                <a:lnTo>
                  <a:pt x="30" y="34"/>
                </a:lnTo>
                <a:lnTo>
                  <a:pt x="34" y="36"/>
                </a:lnTo>
                <a:lnTo>
                  <a:pt x="37" y="37"/>
                </a:lnTo>
                <a:lnTo>
                  <a:pt x="40" y="37"/>
                </a:lnTo>
                <a:lnTo>
                  <a:pt x="40" y="35"/>
                </a:lnTo>
                <a:lnTo>
                  <a:pt x="43" y="35"/>
                </a:lnTo>
                <a:lnTo>
                  <a:pt x="43" y="38"/>
                </a:lnTo>
                <a:lnTo>
                  <a:pt x="42" y="40"/>
                </a:lnTo>
                <a:lnTo>
                  <a:pt x="40" y="40"/>
                </a:lnTo>
                <a:lnTo>
                  <a:pt x="39" y="42"/>
                </a:lnTo>
                <a:lnTo>
                  <a:pt x="34" y="42"/>
                </a:lnTo>
                <a:lnTo>
                  <a:pt x="30" y="45"/>
                </a:lnTo>
                <a:lnTo>
                  <a:pt x="28" y="47"/>
                </a:lnTo>
                <a:lnTo>
                  <a:pt x="27" y="51"/>
                </a:lnTo>
                <a:lnTo>
                  <a:pt x="25" y="53"/>
                </a:lnTo>
                <a:lnTo>
                  <a:pt x="22" y="55"/>
                </a:lnTo>
                <a:lnTo>
                  <a:pt x="22" y="60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57" name="Freeform 47"/>
          <p:cNvSpPr>
            <a:spLocks/>
          </p:cNvSpPr>
          <p:nvPr/>
        </p:nvSpPr>
        <p:spPr bwMode="auto">
          <a:xfrm>
            <a:off x="3907982" y="4178299"/>
            <a:ext cx="409575" cy="485775"/>
          </a:xfrm>
          <a:custGeom>
            <a:avLst/>
            <a:gdLst>
              <a:gd name="T0" fmla="*/ 2147483647 w 43"/>
              <a:gd name="T1" fmla="*/ 2147483647 h 51"/>
              <a:gd name="T2" fmla="*/ 2147483647 w 43"/>
              <a:gd name="T3" fmla="*/ 2147483647 h 51"/>
              <a:gd name="T4" fmla="*/ 2147483647 w 43"/>
              <a:gd name="T5" fmla="*/ 2147483647 h 51"/>
              <a:gd name="T6" fmla="*/ 2147483647 w 43"/>
              <a:gd name="T7" fmla="*/ 2147483647 h 51"/>
              <a:gd name="T8" fmla="*/ 2147483647 w 43"/>
              <a:gd name="T9" fmla="*/ 2147483647 h 51"/>
              <a:gd name="T10" fmla="*/ 2147483647 w 43"/>
              <a:gd name="T11" fmla="*/ 2147483647 h 51"/>
              <a:gd name="T12" fmla="*/ 2147483647 w 43"/>
              <a:gd name="T13" fmla="*/ 2147483647 h 51"/>
              <a:gd name="T14" fmla="*/ 2147483647 w 43"/>
              <a:gd name="T15" fmla="*/ 2147483647 h 51"/>
              <a:gd name="T16" fmla="*/ 2147483647 w 43"/>
              <a:gd name="T17" fmla="*/ 2147483647 h 51"/>
              <a:gd name="T18" fmla="*/ 2147483647 w 43"/>
              <a:gd name="T19" fmla="*/ 2147483647 h 51"/>
              <a:gd name="T20" fmla="*/ 2147483647 w 43"/>
              <a:gd name="T21" fmla="*/ 2147483647 h 51"/>
              <a:gd name="T22" fmla="*/ 2147483647 w 43"/>
              <a:gd name="T23" fmla="*/ 2147483647 h 51"/>
              <a:gd name="T24" fmla="*/ 2147483647 w 43"/>
              <a:gd name="T25" fmla="*/ 2147483647 h 51"/>
              <a:gd name="T26" fmla="*/ 2147483647 w 43"/>
              <a:gd name="T27" fmla="*/ 2147483647 h 51"/>
              <a:gd name="T28" fmla="*/ 0 w 43"/>
              <a:gd name="T29" fmla="*/ 2147483647 h 51"/>
              <a:gd name="T30" fmla="*/ 2147483647 w 43"/>
              <a:gd name="T31" fmla="*/ 2147483647 h 51"/>
              <a:gd name="T32" fmla="*/ 2147483647 w 43"/>
              <a:gd name="T33" fmla="*/ 2147483647 h 51"/>
              <a:gd name="T34" fmla="*/ 2147483647 w 43"/>
              <a:gd name="T35" fmla="*/ 2147483647 h 51"/>
              <a:gd name="T36" fmla="*/ 2147483647 w 43"/>
              <a:gd name="T37" fmla="*/ 2147483647 h 51"/>
              <a:gd name="T38" fmla="*/ 2147483647 w 43"/>
              <a:gd name="T39" fmla="*/ 2147483647 h 51"/>
              <a:gd name="T40" fmla="*/ 2147483647 w 43"/>
              <a:gd name="T41" fmla="*/ 2147483647 h 51"/>
              <a:gd name="T42" fmla="*/ 2147483647 w 43"/>
              <a:gd name="T43" fmla="*/ 2147483647 h 51"/>
              <a:gd name="T44" fmla="*/ 2147483647 w 43"/>
              <a:gd name="T45" fmla="*/ 2147483647 h 51"/>
              <a:gd name="T46" fmla="*/ 2147483647 w 43"/>
              <a:gd name="T47" fmla="*/ 2147483647 h 51"/>
              <a:gd name="T48" fmla="*/ 2147483647 w 43"/>
              <a:gd name="T49" fmla="*/ 2147483647 h 51"/>
              <a:gd name="T50" fmla="*/ 2147483647 w 43"/>
              <a:gd name="T51" fmla="*/ 2147483647 h 51"/>
              <a:gd name="T52" fmla="*/ 2147483647 w 43"/>
              <a:gd name="T53" fmla="*/ 2147483647 h 51"/>
              <a:gd name="T54" fmla="*/ 2147483647 w 43"/>
              <a:gd name="T55" fmla="*/ 2147483647 h 51"/>
              <a:gd name="T56" fmla="*/ 2147483647 w 43"/>
              <a:gd name="T57" fmla="*/ 2147483647 h 51"/>
              <a:gd name="T58" fmla="*/ 2147483647 w 43"/>
              <a:gd name="T59" fmla="*/ 2147483647 h 51"/>
              <a:gd name="T60" fmla="*/ 2147483647 w 43"/>
              <a:gd name="T61" fmla="*/ 2147483647 h 51"/>
              <a:gd name="T62" fmla="*/ 2147483647 w 43"/>
              <a:gd name="T63" fmla="*/ 2147483647 h 51"/>
              <a:gd name="T64" fmla="*/ 2147483647 w 43"/>
              <a:gd name="T65" fmla="*/ 2147483647 h 51"/>
              <a:gd name="T66" fmla="*/ 2147483647 w 43"/>
              <a:gd name="T67" fmla="*/ 2147483647 h 5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43"/>
              <a:gd name="T103" fmla="*/ 0 h 51"/>
              <a:gd name="T104" fmla="*/ 43 w 43"/>
              <a:gd name="T105" fmla="*/ 51 h 51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43" h="51">
                <a:moveTo>
                  <a:pt x="26" y="1"/>
                </a:moveTo>
                <a:lnTo>
                  <a:pt x="25" y="6"/>
                </a:lnTo>
                <a:lnTo>
                  <a:pt x="24" y="9"/>
                </a:lnTo>
                <a:lnTo>
                  <a:pt x="25" y="12"/>
                </a:lnTo>
                <a:lnTo>
                  <a:pt x="25" y="14"/>
                </a:lnTo>
                <a:lnTo>
                  <a:pt x="22" y="13"/>
                </a:lnTo>
                <a:lnTo>
                  <a:pt x="19" y="11"/>
                </a:lnTo>
                <a:lnTo>
                  <a:pt x="14" y="11"/>
                </a:lnTo>
                <a:lnTo>
                  <a:pt x="14" y="7"/>
                </a:lnTo>
                <a:lnTo>
                  <a:pt x="11" y="4"/>
                </a:lnTo>
                <a:lnTo>
                  <a:pt x="7" y="4"/>
                </a:lnTo>
                <a:lnTo>
                  <a:pt x="5" y="7"/>
                </a:lnTo>
                <a:lnTo>
                  <a:pt x="5" y="11"/>
                </a:lnTo>
                <a:lnTo>
                  <a:pt x="8" y="15"/>
                </a:lnTo>
                <a:lnTo>
                  <a:pt x="12" y="17"/>
                </a:lnTo>
                <a:lnTo>
                  <a:pt x="15" y="18"/>
                </a:lnTo>
                <a:lnTo>
                  <a:pt x="18" y="18"/>
                </a:lnTo>
                <a:lnTo>
                  <a:pt x="18" y="16"/>
                </a:lnTo>
                <a:lnTo>
                  <a:pt x="21" y="16"/>
                </a:lnTo>
                <a:lnTo>
                  <a:pt x="21" y="19"/>
                </a:lnTo>
                <a:lnTo>
                  <a:pt x="20" y="21"/>
                </a:lnTo>
                <a:lnTo>
                  <a:pt x="18" y="21"/>
                </a:lnTo>
                <a:lnTo>
                  <a:pt x="17" y="23"/>
                </a:lnTo>
                <a:lnTo>
                  <a:pt x="12" y="23"/>
                </a:lnTo>
                <a:lnTo>
                  <a:pt x="8" y="26"/>
                </a:lnTo>
                <a:lnTo>
                  <a:pt x="6" y="28"/>
                </a:lnTo>
                <a:lnTo>
                  <a:pt x="5" y="32"/>
                </a:lnTo>
                <a:lnTo>
                  <a:pt x="3" y="34"/>
                </a:lnTo>
                <a:lnTo>
                  <a:pt x="0" y="36"/>
                </a:lnTo>
                <a:lnTo>
                  <a:pt x="0" y="41"/>
                </a:lnTo>
                <a:lnTo>
                  <a:pt x="3" y="41"/>
                </a:lnTo>
                <a:lnTo>
                  <a:pt x="6" y="42"/>
                </a:lnTo>
                <a:lnTo>
                  <a:pt x="6" y="45"/>
                </a:lnTo>
                <a:lnTo>
                  <a:pt x="3" y="48"/>
                </a:lnTo>
                <a:lnTo>
                  <a:pt x="7" y="49"/>
                </a:lnTo>
                <a:lnTo>
                  <a:pt x="9" y="51"/>
                </a:lnTo>
                <a:lnTo>
                  <a:pt x="13" y="51"/>
                </a:lnTo>
                <a:lnTo>
                  <a:pt x="14" y="46"/>
                </a:lnTo>
                <a:lnTo>
                  <a:pt x="14" y="43"/>
                </a:lnTo>
                <a:lnTo>
                  <a:pt x="18" y="43"/>
                </a:lnTo>
                <a:lnTo>
                  <a:pt x="20" y="46"/>
                </a:lnTo>
                <a:lnTo>
                  <a:pt x="23" y="47"/>
                </a:lnTo>
                <a:lnTo>
                  <a:pt x="24" y="45"/>
                </a:lnTo>
                <a:lnTo>
                  <a:pt x="25" y="43"/>
                </a:lnTo>
                <a:lnTo>
                  <a:pt x="22" y="40"/>
                </a:lnTo>
                <a:lnTo>
                  <a:pt x="21" y="37"/>
                </a:lnTo>
                <a:lnTo>
                  <a:pt x="22" y="34"/>
                </a:lnTo>
                <a:lnTo>
                  <a:pt x="25" y="32"/>
                </a:lnTo>
                <a:lnTo>
                  <a:pt x="27" y="34"/>
                </a:lnTo>
                <a:lnTo>
                  <a:pt x="29" y="37"/>
                </a:lnTo>
                <a:lnTo>
                  <a:pt x="35" y="37"/>
                </a:lnTo>
                <a:lnTo>
                  <a:pt x="38" y="38"/>
                </a:lnTo>
                <a:lnTo>
                  <a:pt x="39" y="34"/>
                </a:lnTo>
                <a:lnTo>
                  <a:pt x="40" y="31"/>
                </a:lnTo>
                <a:lnTo>
                  <a:pt x="37" y="28"/>
                </a:lnTo>
                <a:lnTo>
                  <a:pt x="33" y="28"/>
                </a:lnTo>
                <a:lnTo>
                  <a:pt x="33" y="24"/>
                </a:lnTo>
                <a:lnTo>
                  <a:pt x="37" y="22"/>
                </a:lnTo>
                <a:lnTo>
                  <a:pt x="42" y="19"/>
                </a:lnTo>
                <a:lnTo>
                  <a:pt x="43" y="16"/>
                </a:lnTo>
                <a:lnTo>
                  <a:pt x="43" y="11"/>
                </a:lnTo>
                <a:lnTo>
                  <a:pt x="41" y="7"/>
                </a:lnTo>
                <a:lnTo>
                  <a:pt x="35" y="8"/>
                </a:lnTo>
                <a:lnTo>
                  <a:pt x="33" y="5"/>
                </a:lnTo>
                <a:lnTo>
                  <a:pt x="31" y="4"/>
                </a:lnTo>
                <a:lnTo>
                  <a:pt x="30" y="0"/>
                </a:lnTo>
                <a:lnTo>
                  <a:pt x="26" y="1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58" name="Freeform 48"/>
          <p:cNvSpPr>
            <a:spLocks/>
          </p:cNvSpPr>
          <p:nvPr/>
        </p:nvSpPr>
        <p:spPr bwMode="auto">
          <a:xfrm>
            <a:off x="3746057" y="3721099"/>
            <a:ext cx="276225" cy="295275"/>
          </a:xfrm>
          <a:custGeom>
            <a:avLst/>
            <a:gdLst>
              <a:gd name="T0" fmla="*/ 2147483647 w 29"/>
              <a:gd name="T1" fmla="*/ 2147483647 h 31"/>
              <a:gd name="T2" fmla="*/ 2147483647 w 29"/>
              <a:gd name="T3" fmla="*/ 2147483647 h 31"/>
              <a:gd name="T4" fmla="*/ 2147483647 w 29"/>
              <a:gd name="T5" fmla="*/ 2147483647 h 31"/>
              <a:gd name="T6" fmla="*/ 2147483647 w 29"/>
              <a:gd name="T7" fmla="*/ 2147483647 h 31"/>
              <a:gd name="T8" fmla="*/ 2147483647 w 29"/>
              <a:gd name="T9" fmla="*/ 2147483647 h 31"/>
              <a:gd name="T10" fmla="*/ 2147483647 w 29"/>
              <a:gd name="T11" fmla="*/ 2147483647 h 31"/>
              <a:gd name="T12" fmla="*/ 2147483647 w 29"/>
              <a:gd name="T13" fmla="*/ 2147483647 h 31"/>
              <a:gd name="T14" fmla="*/ 2147483647 w 29"/>
              <a:gd name="T15" fmla="*/ 2147483647 h 31"/>
              <a:gd name="T16" fmla="*/ 2147483647 w 29"/>
              <a:gd name="T17" fmla="*/ 2147483647 h 31"/>
              <a:gd name="T18" fmla="*/ 2147483647 w 29"/>
              <a:gd name="T19" fmla="*/ 2147483647 h 31"/>
              <a:gd name="T20" fmla="*/ 2147483647 w 29"/>
              <a:gd name="T21" fmla="*/ 2147483647 h 31"/>
              <a:gd name="T22" fmla="*/ 2147483647 w 29"/>
              <a:gd name="T23" fmla="*/ 0 h 31"/>
              <a:gd name="T24" fmla="*/ 2147483647 w 29"/>
              <a:gd name="T25" fmla="*/ 0 h 31"/>
              <a:gd name="T26" fmla="*/ 2147483647 w 29"/>
              <a:gd name="T27" fmla="*/ 2147483647 h 31"/>
              <a:gd name="T28" fmla="*/ 2147483647 w 29"/>
              <a:gd name="T29" fmla="*/ 2147483647 h 31"/>
              <a:gd name="T30" fmla="*/ 2147483647 w 29"/>
              <a:gd name="T31" fmla="*/ 2147483647 h 31"/>
              <a:gd name="T32" fmla="*/ 2147483647 w 29"/>
              <a:gd name="T33" fmla="*/ 2147483647 h 31"/>
              <a:gd name="T34" fmla="*/ 2147483647 w 29"/>
              <a:gd name="T35" fmla="*/ 2147483647 h 31"/>
              <a:gd name="T36" fmla="*/ 2147483647 w 29"/>
              <a:gd name="T37" fmla="*/ 2147483647 h 31"/>
              <a:gd name="T38" fmla="*/ 2147483647 w 29"/>
              <a:gd name="T39" fmla="*/ 2147483647 h 31"/>
              <a:gd name="T40" fmla="*/ 0 w 29"/>
              <a:gd name="T41" fmla="*/ 2147483647 h 31"/>
              <a:gd name="T42" fmla="*/ 0 w 29"/>
              <a:gd name="T43" fmla="*/ 2147483647 h 31"/>
              <a:gd name="T44" fmla="*/ 2147483647 w 29"/>
              <a:gd name="T45" fmla="*/ 2147483647 h 31"/>
              <a:gd name="T46" fmla="*/ 2147483647 w 29"/>
              <a:gd name="T47" fmla="*/ 2147483647 h 31"/>
              <a:gd name="T48" fmla="*/ 2147483647 w 29"/>
              <a:gd name="T49" fmla="*/ 2147483647 h 31"/>
              <a:gd name="T50" fmla="*/ 2147483647 w 29"/>
              <a:gd name="T51" fmla="*/ 2147483647 h 31"/>
              <a:gd name="T52" fmla="*/ 2147483647 w 29"/>
              <a:gd name="T53" fmla="*/ 2147483647 h 31"/>
              <a:gd name="T54" fmla="*/ 2147483647 w 29"/>
              <a:gd name="T55" fmla="*/ 2147483647 h 31"/>
              <a:gd name="T56" fmla="*/ 2147483647 w 29"/>
              <a:gd name="T57" fmla="*/ 2147483647 h 31"/>
              <a:gd name="T58" fmla="*/ 2147483647 w 29"/>
              <a:gd name="T59" fmla="*/ 2147483647 h 31"/>
              <a:gd name="T60" fmla="*/ 2147483647 w 29"/>
              <a:gd name="T61" fmla="*/ 2147483647 h 31"/>
              <a:gd name="T62" fmla="*/ 2147483647 w 29"/>
              <a:gd name="T63" fmla="*/ 2147483647 h 31"/>
              <a:gd name="T64" fmla="*/ 2147483647 w 29"/>
              <a:gd name="T65" fmla="*/ 2147483647 h 31"/>
              <a:gd name="T66" fmla="*/ 2147483647 w 29"/>
              <a:gd name="T67" fmla="*/ 2147483647 h 31"/>
              <a:gd name="T68" fmla="*/ 2147483647 w 29"/>
              <a:gd name="T69" fmla="*/ 2147483647 h 31"/>
              <a:gd name="T70" fmla="*/ 2147483647 w 29"/>
              <a:gd name="T71" fmla="*/ 2147483647 h 31"/>
              <a:gd name="T72" fmla="*/ 2147483647 w 29"/>
              <a:gd name="T73" fmla="*/ 2147483647 h 31"/>
              <a:gd name="T74" fmla="*/ 2147483647 w 29"/>
              <a:gd name="T75" fmla="*/ 2147483647 h 31"/>
              <a:gd name="T76" fmla="*/ 2147483647 w 29"/>
              <a:gd name="T77" fmla="*/ 2147483647 h 31"/>
              <a:gd name="T78" fmla="*/ 2147483647 w 29"/>
              <a:gd name="T79" fmla="*/ 2147483647 h 31"/>
              <a:gd name="T80" fmla="*/ 2147483647 w 29"/>
              <a:gd name="T81" fmla="*/ 2147483647 h 31"/>
              <a:gd name="T82" fmla="*/ 2147483647 w 29"/>
              <a:gd name="T83" fmla="*/ 2147483647 h 31"/>
              <a:gd name="T84" fmla="*/ 2147483647 w 29"/>
              <a:gd name="T85" fmla="*/ 2147483647 h 3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9"/>
              <a:gd name="T130" fmla="*/ 0 h 31"/>
              <a:gd name="T131" fmla="*/ 29 w 29"/>
              <a:gd name="T132" fmla="*/ 31 h 31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9" h="31">
                <a:moveTo>
                  <a:pt x="18" y="29"/>
                </a:moveTo>
                <a:lnTo>
                  <a:pt x="18" y="23"/>
                </a:lnTo>
                <a:lnTo>
                  <a:pt x="21" y="23"/>
                </a:lnTo>
                <a:lnTo>
                  <a:pt x="23" y="20"/>
                </a:lnTo>
                <a:lnTo>
                  <a:pt x="25" y="16"/>
                </a:lnTo>
                <a:lnTo>
                  <a:pt x="27" y="13"/>
                </a:lnTo>
                <a:lnTo>
                  <a:pt x="27" y="11"/>
                </a:lnTo>
                <a:lnTo>
                  <a:pt x="29" y="9"/>
                </a:lnTo>
                <a:lnTo>
                  <a:pt x="29" y="6"/>
                </a:lnTo>
                <a:lnTo>
                  <a:pt x="27" y="3"/>
                </a:lnTo>
                <a:lnTo>
                  <a:pt x="24" y="3"/>
                </a:lnTo>
                <a:lnTo>
                  <a:pt x="21" y="0"/>
                </a:lnTo>
                <a:lnTo>
                  <a:pt x="17" y="0"/>
                </a:lnTo>
                <a:lnTo>
                  <a:pt x="16" y="4"/>
                </a:lnTo>
                <a:lnTo>
                  <a:pt x="13" y="7"/>
                </a:lnTo>
                <a:lnTo>
                  <a:pt x="9" y="5"/>
                </a:lnTo>
                <a:lnTo>
                  <a:pt x="7" y="6"/>
                </a:lnTo>
                <a:lnTo>
                  <a:pt x="7" y="10"/>
                </a:lnTo>
                <a:lnTo>
                  <a:pt x="6" y="14"/>
                </a:lnTo>
                <a:lnTo>
                  <a:pt x="2" y="14"/>
                </a:lnTo>
                <a:lnTo>
                  <a:pt x="0" y="18"/>
                </a:lnTo>
                <a:lnTo>
                  <a:pt x="0" y="20"/>
                </a:lnTo>
                <a:lnTo>
                  <a:pt x="1" y="22"/>
                </a:lnTo>
                <a:lnTo>
                  <a:pt x="1" y="24"/>
                </a:lnTo>
                <a:lnTo>
                  <a:pt x="2" y="24"/>
                </a:lnTo>
                <a:lnTo>
                  <a:pt x="4" y="25"/>
                </a:lnTo>
                <a:lnTo>
                  <a:pt x="5" y="26"/>
                </a:lnTo>
                <a:lnTo>
                  <a:pt x="6" y="25"/>
                </a:lnTo>
                <a:lnTo>
                  <a:pt x="7" y="24"/>
                </a:lnTo>
                <a:lnTo>
                  <a:pt x="9" y="23"/>
                </a:lnTo>
                <a:lnTo>
                  <a:pt x="10" y="22"/>
                </a:lnTo>
                <a:lnTo>
                  <a:pt x="11" y="24"/>
                </a:lnTo>
                <a:lnTo>
                  <a:pt x="9" y="25"/>
                </a:lnTo>
                <a:lnTo>
                  <a:pt x="10" y="26"/>
                </a:lnTo>
                <a:lnTo>
                  <a:pt x="11" y="26"/>
                </a:lnTo>
                <a:lnTo>
                  <a:pt x="12" y="27"/>
                </a:lnTo>
                <a:lnTo>
                  <a:pt x="12" y="28"/>
                </a:lnTo>
                <a:lnTo>
                  <a:pt x="10" y="29"/>
                </a:lnTo>
                <a:lnTo>
                  <a:pt x="9" y="30"/>
                </a:lnTo>
                <a:lnTo>
                  <a:pt x="10" y="31"/>
                </a:lnTo>
                <a:lnTo>
                  <a:pt x="12" y="31"/>
                </a:lnTo>
                <a:lnTo>
                  <a:pt x="15" y="31"/>
                </a:lnTo>
                <a:lnTo>
                  <a:pt x="18" y="29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59" name="Freeform 49"/>
          <p:cNvSpPr>
            <a:spLocks noEditPoints="1"/>
          </p:cNvSpPr>
          <p:nvPr/>
        </p:nvSpPr>
        <p:spPr bwMode="auto">
          <a:xfrm>
            <a:off x="3917507" y="3492499"/>
            <a:ext cx="590550" cy="628650"/>
          </a:xfrm>
          <a:custGeom>
            <a:avLst/>
            <a:gdLst>
              <a:gd name="T0" fmla="*/ 2147483647 w 62"/>
              <a:gd name="T1" fmla="*/ 2147483647 h 66"/>
              <a:gd name="T2" fmla="*/ 2147483647 w 62"/>
              <a:gd name="T3" fmla="*/ 2147483647 h 66"/>
              <a:gd name="T4" fmla="*/ 2147483647 w 62"/>
              <a:gd name="T5" fmla="*/ 2147483647 h 66"/>
              <a:gd name="T6" fmla="*/ 2147483647 w 62"/>
              <a:gd name="T7" fmla="*/ 2147483647 h 66"/>
              <a:gd name="T8" fmla="*/ 2147483647 w 62"/>
              <a:gd name="T9" fmla="*/ 2147483647 h 66"/>
              <a:gd name="T10" fmla="*/ 2147483647 w 62"/>
              <a:gd name="T11" fmla="*/ 2147483647 h 66"/>
              <a:gd name="T12" fmla="*/ 2147483647 w 62"/>
              <a:gd name="T13" fmla="*/ 2147483647 h 66"/>
              <a:gd name="T14" fmla="*/ 2147483647 w 62"/>
              <a:gd name="T15" fmla="*/ 2147483647 h 66"/>
              <a:gd name="T16" fmla="*/ 2147483647 w 62"/>
              <a:gd name="T17" fmla="*/ 2147483647 h 66"/>
              <a:gd name="T18" fmla="*/ 2147483647 w 62"/>
              <a:gd name="T19" fmla="*/ 2147483647 h 66"/>
              <a:gd name="T20" fmla="*/ 2147483647 w 62"/>
              <a:gd name="T21" fmla="*/ 2147483647 h 66"/>
              <a:gd name="T22" fmla="*/ 2147483647 w 62"/>
              <a:gd name="T23" fmla="*/ 2147483647 h 66"/>
              <a:gd name="T24" fmla="*/ 2147483647 w 62"/>
              <a:gd name="T25" fmla="*/ 2147483647 h 66"/>
              <a:gd name="T26" fmla="*/ 2147483647 w 62"/>
              <a:gd name="T27" fmla="*/ 2147483647 h 66"/>
              <a:gd name="T28" fmla="*/ 2147483647 w 62"/>
              <a:gd name="T29" fmla="*/ 2147483647 h 66"/>
              <a:gd name="T30" fmla="*/ 2147483647 w 62"/>
              <a:gd name="T31" fmla="*/ 2147483647 h 66"/>
              <a:gd name="T32" fmla="*/ 2147483647 w 62"/>
              <a:gd name="T33" fmla="*/ 2147483647 h 66"/>
              <a:gd name="T34" fmla="*/ 2147483647 w 62"/>
              <a:gd name="T35" fmla="*/ 2147483647 h 66"/>
              <a:gd name="T36" fmla="*/ 2147483647 w 62"/>
              <a:gd name="T37" fmla="*/ 2147483647 h 66"/>
              <a:gd name="T38" fmla="*/ 2147483647 w 62"/>
              <a:gd name="T39" fmla="*/ 2147483647 h 66"/>
              <a:gd name="T40" fmla="*/ 2147483647 w 62"/>
              <a:gd name="T41" fmla="*/ 2147483647 h 66"/>
              <a:gd name="T42" fmla="*/ 2147483647 w 62"/>
              <a:gd name="T43" fmla="*/ 2147483647 h 66"/>
              <a:gd name="T44" fmla="*/ 2147483647 w 62"/>
              <a:gd name="T45" fmla="*/ 2147483647 h 66"/>
              <a:gd name="T46" fmla="*/ 2147483647 w 62"/>
              <a:gd name="T47" fmla="*/ 2147483647 h 66"/>
              <a:gd name="T48" fmla="*/ 2147483647 w 62"/>
              <a:gd name="T49" fmla="*/ 2147483647 h 66"/>
              <a:gd name="T50" fmla="*/ 2147483647 w 62"/>
              <a:gd name="T51" fmla="*/ 2147483647 h 66"/>
              <a:gd name="T52" fmla="*/ 2147483647 w 62"/>
              <a:gd name="T53" fmla="*/ 2147483647 h 66"/>
              <a:gd name="T54" fmla="*/ 2147483647 w 62"/>
              <a:gd name="T55" fmla="*/ 2147483647 h 66"/>
              <a:gd name="T56" fmla="*/ 0 w 62"/>
              <a:gd name="T57" fmla="*/ 2147483647 h 66"/>
              <a:gd name="T58" fmla="*/ 2147483647 w 62"/>
              <a:gd name="T59" fmla="*/ 2147483647 h 66"/>
              <a:gd name="T60" fmla="*/ 2147483647 w 62"/>
              <a:gd name="T61" fmla="*/ 2147483647 h 66"/>
              <a:gd name="T62" fmla="*/ 2147483647 w 62"/>
              <a:gd name="T63" fmla="*/ 2147483647 h 66"/>
              <a:gd name="T64" fmla="*/ 2147483647 w 62"/>
              <a:gd name="T65" fmla="*/ 2147483647 h 66"/>
              <a:gd name="T66" fmla="*/ 2147483647 w 62"/>
              <a:gd name="T67" fmla="*/ 2147483647 h 6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62"/>
              <a:gd name="T103" fmla="*/ 0 h 66"/>
              <a:gd name="T104" fmla="*/ 62 w 62"/>
              <a:gd name="T105" fmla="*/ 66 h 6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62" h="66">
                <a:moveTo>
                  <a:pt x="12" y="30"/>
                </a:moveTo>
                <a:lnTo>
                  <a:pt x="14" y="29"/>
                </a:lnTo>
                <a:lnTo>
                  <a:pt x="14" y="27"/>
                </a:lnTo>
                <a:lnTo>
                  <a:pt x="17" y="25"/>
                </a:lnTo>
                <a:lnTo>
                  <a:pt x="15" y="23"/>
                </a:lnTo>
                <a:lnTo>
                  <a:pt x="15" y="19"/>
                </a:lnTo>
                <a:lnTo>
                  <a:pt x="18" y="18"/>
                </a:lnTo>
                <a:lnTo>
                  <a:pt x="22" y="17"/>
                </a:lnTo>
                <a:lnTo>
                  <a:pt x="22" y="11"/>
                </a:lnTo>
                <a:lnTo>
                  <a:pt x="17" y="5"/>
                </a:lnTo>
                <a:lnTo>
                  <a:pt x="18" y="3"/>
                </a:lnTo>
                <a:lnTo>
                  <a:pt x="19" y="3"/>
                </a:lnTo>
                <a:lnTo>
                  <a:pt x="19" y="1"/>
                </a:lnTo>
                <a:lnTo>
                  <a:pt x="22" y="0"/>
                </a:lnTo>
                <a:lnTo>
                  <a:pt x="24" y="1"/>
                </a:lnTo>
                <a:lnTo>
                  <a:pt x="27" y="1"/>
                </a:lnTo>
                <a:lnTo>
                  <a:pt x="28" y="3"/>
                </a:lnTo>
                <a:lnTo>
                  <a:pt x="29" y="5"/>
                </a:lnTo>
                <a:lnTo>
                  <a:pt x="31" y="6"/>
                </a:lnTo>
                <a:lnTo>
                  <a:pt x="33" y="8"/>
                </a:lnTo>
                <a:lnTo>
                  <a:pt x="35" y="8"/>
                </a:lnTo>
                <a:lnTo>
                  <a:pt x="36" y="10"/>
                </a:lnTo>
                <a:lnTo>
                  <a:pt x="40" y="10"/>
                </a:lnTo>
                <a:lnTo>
                  <a:pt x="44" y="11"/>
                </a:lnTo>
                <a:lnTo>
                  <a:pt x="47" y="9"/>
                </a:lnTo>
                <a:lnTo>
                  <a:pt x="53" y="14"/>
                </a:lnTo>
                <a:lnTo>
                  <a:pt x="57" y="18"/>
                </a:lnTo>
                <a:lnTo>
                  <a:pt x="62" y="17"/>
                </a:lnTo>
                <a:lnTo>
                  <a:pt x="62" y="19"/>
                </a:lnTo>
                <a:lnTo>
                  <a:pt x="60" y="21"/>
                </a:lnTo>
                <a:lnTo>
                  <a:pt x="58" y="22"/>
                </a:lnTo>
                <a:lnTo>
                  <a:pt x="57" y="25"/>
                </a:lnTo>
                <a:lnTo>
                  <a:pt x="53" y="29"/>
                </a:lnTo>
                <a:lnTo>
                  <a:pt x="50" y="34"/>
                </a:lnTo>
                <a:lnTo>
                  <a:pt x="42" y="35"/>
                </a:lnTo>
                <a:lnTo>
                  <a:pt x="42" y="39"/>
                </a:lnTo>
                <a:lnTo>
                  <a:pt x="45" y="42"/>
                </a:lnTo>
                <a:lnTo>
                  <a:pt x="41" y="45"/>
                </a:lnTo>
                <a:lnTo>
                  <a:pt x="42" y="50"/>
                </a:lnTo>
                <a:lnTo>
                  <a:pt x="38" y="52"/>
                </a:lnTo>
                <a:lnTo>
                  <a:pt x="34" y="53"/>
                </a:lnTo>
                <a:lnTo>
                  <a:pt x="34" y="56"/>
                </a:lnTo>
                <a:lnTo>
                  <a:pt x="30" y="57"/>
                </a:lnTo>
                <a:lnTo>
                  <a:pt x="28" y="54"/>
                </a:lnTo>
                <a:lnTo>
                  <a:pt x="26" y="58"/>
                </a:lnTo>
                <a:lnTo>
                  <a:pt x="24" y="61"/>
                </a:lnTo>
                <a:lnTo>
                  <a:pt x="19" y="60"/>
                </a:lnTo>
                <a:lnTo>
                  <a:pt x="17" y="63"/>
                </a:lnTo>
                <a:lnTo>
                  <a:pt x="15" y="66"/>
                </a:lnTo>
                <a:lnTo>
                  <a:pt x="12" y="66"/>
                </a:lnTo>
                <a:lnTo>
                  <a:pt x="12" y="63"/>
                </a:lnTo>
                <a:lnTo>
                  <a:pt x="8" y="61"/>
                </a:lnTo>
                <a:lnTo>
                  <a:pt x="8" y="57"/>
                </a:lnTo>
                <a:lnTo>
                  <a:pt x="2" y="57"/>
                </a:lnTo>
                <a:lnTo>
                  <a:pt x="2" y="53"/>
                </a:lnTo>
                <a:lnTo>
                  <a:pt x="0" y="53"/>
                </a:lnTo>
                <a:lnTo>
                  <a:pt x="0" y="47"/>
                </a:lnTo>
                <a:lnTo>
                  <a:pt x="3" y="47"/>
                </a:lnTo>
                <a:lnTo>
                  <a:pt x="5" y="44"/>
                </a:lnTo>
                <a:lnTo>
                  <a:pt x="7" y="40"/>
                </a:lnTo>
                <a:lnTo>
                  <a:pt x="9" y="37"/>
                </a:lnTo>
                <a:lnTo>
                  <a:pt x="9" y="35"/>
                </a:lnTo>
                <a:lnTo>
                  <a:pt x="11" y="33"/>
                </a:lnTo>
                <a:lnTo>
                  <a:pt x="12" y="30"/>
                </a:lnTo>
                <a:close/>
                <a:moveTo>
                  <a:pt x="12" y="30"/>
                </a:moveTo>
                <a:lnTo>
                  <a:pt x="14" y="29"/>
                </a:lnTo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 anchor="b"/>
          <a:lstStyle/>
          <a:p>
            <a:endParaRPr lang="ru-RU"/>
          </a:p>
        </p:txBody>
      </p:sp>
      <p:sp>
        <p:nvSpPr>
          <p:cNvPr id="60" name="Freeform 50"/>
          <p:cNvSpPr>
            <a:spLocks/>
          </p:cNvSpPr>
          <p:nvPr/>
        </p:nvSpPr>
        <p:spPr bwMode="auto">
          <a:xfrm>
            <a:off x="4222307" y="4273549"/>
            <a:ext cx="466725" cy="333375"/>
          </a:xfrm>
          <a:custGeom>
            <a:avLst/>
            <a:gdLst>
              <a:gd name="T0" fmla="*/ 2147483647 w 49"/>
              <a:gd name="T1" fmla="*/ 2147483647 h 35"/>
              <a:gd name="T2" fmla="*/ 2147483647 w 49"/>
              <a:gd name="T3" fmla="*/ 2147483647 h 35"/>
              <a:gd name="T4" fmla="*/ 2147483647 w 49"/>
              <a:gd name="T5" fmla="*/ 2147483647 h 35"/>
              <a:gd name="T6" fmla="*/ 2147483647 w 49"/>
              <a:gd name="T7" fmla="*/ 2147483647 h 35"/>
              <a:gd name="T8" fmla="*/ 0 w 49"/>
              <a:gd name="T9" fmla="*/ 2147483647 h 35"/>
              <a:gd name="T10" fmla="*/ 0 w 49"/>
              <a:gd name="T11" fmla="*/ 2147483647 h 35"/>
              <a:gd name="T12" fmla="*/ 2147483647 w 49"/>
              <a:gd name="T13" fmla="*/ 2147483647 h 35"/>
              <a:gd name="T14" fmla="*/ 2147483647 w 49"/>
              <a:gd name="T15" fmla="*/ 2147483647 h 35"/>
              <a:gd name="T16" fmla="*/ 2147483647 w 49"/>
              <a:gd name="T17" fmla="*/ 2147483647 h 35"/>
              <a:gd name="T18" fmla="*/ 2147483647 w 49"/>
              <a:gd name="T19" fmla="*/ 2147483647 h 35"/>
              <a:gd name="T20" fmla="*/ 2147483647 w 49"/>
              <a:gd name="T21" fmla="*/ 2147483647 h 35"/>
              <a:gd name="T22" fmla="*/ 2147483647 w 49"/>
              <a:gd name="T23" fmla="*/ 2147483647 h 35"/>
              <a:gd name="T24" fmla="*/ 2147483647 w 49"/>
              <a:gd name="T25" fmla="*/ 2147483647 h 35"/>
              <a:gd name="T26" fmla="*/ 2147483647 w 49"/>
              <a:gd name="T27" fmla="*/ 2147483647 h 35"/>
              <a:gd name="T28" fmla="*/ 2147483647 w 49"/>
              <a:gd name="T29" fmla="*/ 2147483647 h 35"/>
              <a:gd name="T30" fmla="*/ 2147483647 w 49"/>
              <a:gd name="T31" fmla="*/ 2147483647 h 35"/>
              <a:gd name="T32" fmla="*/ 2147483647 w 49"/>
              <a:gd name="T33" fmla="*/ 2147483647 h 35"/>
              <a:gd name="T34" fmla="*/ 2147483647 w 49"/>
              <a:gd name="T35" fmla="*/ 2147483647 h 35"/>
              <a:gd name="T36" fmla="*/ 2147483647 w 49"/>
              <a:gd name="T37" fmla="*/ 2147483647 h 35"/>
              <a:gd name="T38" fmla="*/ 2147483647 w 49"/>
              <a:gd name="T39" fmla="*/ 2147483647 h 35"/>
              <a:gd name="T40" fmla="*/ 2147483647 w 49"/>
              <a:gd name="T41" fmla="*/ 2147483647 h 35"/>
              <a:gd name="T42" fmla="*/ 2147483647 w 49"/>
              <a:gd name="T43" fmla="*/ 2147483647 h 35"/>
              <a:gd name="T44" fmla="*/ 2147483647 w 49"/>
              <a:gd name="T45" fmla="*/ 2147483647 h 35"/>
              <a:gd name="T46" fmla="*/ 2147483647 w 49"/>
              <a:gd name="T47" fmla="*/ 2147483647 h 35"/>
              <a:gd name="T48" fmla="*/ 2147483647 w 49"/>
              <a:gd name="T49" fmla="*/ 2147483647 h 35"/>
              <a:gd name="T50" fmla="*/ 2147483647 w 49"/>
              <a:gd name="T51" fmla="*/ 2147483647 h 35"/>
              <a:gd name="T52" fmla="*/ 2147483647 w 49"/>
              <a:gd name="T53" fmla="*/ 2147483647 h 35"/>
              <a:gd name="T54" fmla="*/ 2147483647 w 49"/>
              <a:gd name="T55" fmla="*/ 0 h 35"/>
              <a:gd name="T56" fmla="*/ 2147483647 w 49"/>
              <a:gd name="T57" fmla="*/ 2147483647 h 35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49"/>
              <a:gd name="T88" fmla="*/ 0 h 35"/>
              <a:gd name="T89" fmla="*/ 49 w 49"/>
              <a:gd name="T90" fmla="*/ 35 h 35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49" h="35">
                <a:moveTo>
                  <a:pt x="10" y="1"/>
                </a:moveTo>
                <a:lnTo>
                  <a:pt x="10" y="6"/>
                </a:lnTo>
                <a:lnTo>
                  <a:pt x="9" y="9"/>
                </a:lnTo>
                <a:lnTo>
                  <a:pt x="4" y="12"/>
                </a:lnTo>
                <a:lnTo>
                  <a:pt x="0" y="14"/>
                </a:lnTo>
                <a:lnTo>
                  <a:pt x="0" y="18"/>
                </a:lnTo>
                <a:lnTo>
                  <a:pt x="4" y="18"/>
                </a:lnTo>
                <a:lnTo>
                  <a:pt x="7" y="21"/>
                </a:lnTo>
                <a:lnTo>
                  <a:pt x="6" y="24"/>
                </a:lnTo>
                <a:lnTo>
                  <a:pt x="5" y="28"/>
                </a:lnTo>
                <a:lnTo>
                  <a:pt x="14" y="29"/>
                </a:lnTo>
                <a:lnTo>
                  <a:pt x="19" y="33"/>
                </a:lnTo>
                <a:lnTo>
                  <a:pt x="23" y="31"/>
                </a:lnTo>
                <a:cubicBezTo>
                  <a:pt x="23" y="31"/>
                  <a:pt x="27" y="33"/>
                  <a:pt x="27" y="33"/>
                </a:cubicBezTo>
                <a:cubicBezTo>
                  <a:pt x="28" y="33"/>
                  <a:pt x="34" y="34"/>
                  <a:pt x="34" y="34"/>
                </a:cubicBezTo>
                <a:lnTo>
                  <a:pt x="37" y="35"/>
                </a:lnTo>
                <a:lnTo>
                  <a:pt x="44" y="35"/>
                </a:lnTo>
                <a:lnTo>
                  <a:pt x="49" y="31"/>
                </a:lnTo>
                <a:lnTo>
                  <a:pt x="44" y="27"/>
                </a:lnTo>
                <a:lnTo>
                  <a:pt x="41" y="24"/>
                </a:lnTo>
                <a:lnTo>
                  <a:pt x="41" y="20"/>
                </a:lnTo>
                <a:lnTo>
                  <a:pt x="37" y="16"/>
                </a:lnTo>
                <a:lnTo>
                  <a:pt x="32" y="16"/>
                </a:lnTo>
                <a:lnTo>
                  <a:pt x="33" y="12"/>
                </a:lnTo>
                <a:lnTo>
                  <a:pt x="30" y="11"/>
                </a:lnTo>
                <a:lnTo>
                  <a:pt x="31" y="4"/>
                </a:lnTo>
                <a:lnTo>
                  <a:pt x="23" y="3"/>
                </a:lnTo>
                <a:lnTo>
                  <a:pt x="21" y="0"/>
                </a:lnTo>
                <a:lnTo>
                  <a:pt x="10" y="1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61" name="Freeform 51"/>
          <p:cNvSpPr>
            <a:spLocks/>
          </p:cNvSpPr>
          <p:nvPr/>
        </p:nvSpPr>
        <p:spPr bwMode="auto">
          <a:xfrm>
            <a:off x="4060382" y="3625849"/>
            <a:ext cx="609600" cy="685800"/>
          </a:xfrm>
          <a:custGeom>
            <a:avLst/>
            <a:gdLst>
              <a:gd name="T0" fmla="*/ 2147483647 w 64"/>
              <a:gd name="T1" fmla="*/ 2147483647 h 72"/>
              <a:gd name="T2" fmla="*/ 2147483647 w 64"/>
              <a:gd name="T3" fmla="*/ 2147483647 h 72"/>
              <a:gd name="T4" fmla="*/ 2147483647 w 64"/>
              <a:gd name="T5" fmla="*/ 2147483647 h 72"/>
              <a:gd name="T6" fmla="*/ 2147483647 w 64"/>
              <a:gd name="T7" fmla="*/ 2147483647 h 72"/>
              <a:gd name="T8" fmla="*/ 2147483647 w 64"/>
              <a:gd name="T9" fmla="*/ 2147483647 h 72"/>
              <a:gd name="T10" fmla="*/ 2147483647 w 64"/>
              <a:gd name="T11" fmla="*/ 2147483647 h 72"/>
              <a:gd name="T12" fmla="*/ 2147483647 w 64"/>
              <a:gd name="T13" fmla="*/ 2147483647 h 72"/>
              <a:gd name="T14" fmla="*/ 2147483647 w 64"/>
              <a:gd name="T15" fmla="*/ 2147483647 h 72"/>
              <a:gd name="T16" fmla="*/ 2147483647 w 64"/>
              <a:gd name="T17" fmla="*/ 2147483647 h 72"/>
              <a:gd name="T18" fmla="*/ 2147483647 w 64"/>
              <a:gd name="T19" fmla="*/ 2147483647 h 72"/>
              <a:gd name="T20" fmla="*/ 2147483647 w 64"/>
              <a:gd name="T21" fmla="*/ 2147483647 h 72"/>
              <a:gd name="T22" fmla="*/ 2147483647 w 64"/>
              <a:gd name="T23" fmla="*/ 2147483647 h 72"/>
              <a:gd name="T24" fmla="*/ 2147483647 w 64"/>
              <a:gd name="T25" fmla="*/ 2147483647 h 72"/>
              <a:gd name="T26" fmla="*/ 2147483647 w 64"/>
              <a:gd name="T27" fmla="*/ 2147483647 h 72"/>
              <a:gd name="T28" fmla="*/ 2147483647 w 64"/>
              <a:gd name="T29" fmla="*/ 2147483647 h 72"/>
              <a:gd name="T30" fmla="*/ 2147483647 w 64"/>
              <a:gd name="T31" fmla="*/ 2147483647 h 72"/>
              <a:gd name="T32" fmla="*/ 2147483647 w 64"/>
              <a:gd name="T33" fmla="*/ 2147483647 h 72"/>
              <a:gd name="T34" fmla="*/ 2147483647 w 64"/>
              <a:gd name="T35" fmla="*/ 2147483647 h 72"/>
              <a:gd name="T36" fmla="*/ 2147483647 w 64"/>
              <a:gd name="T37" fmla="*/ 2147483647 h 72"/>
              <a:gd name="T38" fmla="*/ 2147483647 w 64"/>
              <a:gd name="T39" fmla="*/ 2147483647 h 72"/>
              <a:gd name="T40" fmla="*/ 2147483647 w 64"/>
              <a:gd name="T41" fmla="*/ 2147483647 h 72"/>
              <a:gd name="T42" fmla="*/ 0 w 64"/>
              <a:gd name="T43" fmla="*/ 2147483647 h 72"/>
              <a:gd name="T44" fmla="*/ 2147483647 w 64"/>
              <a:gd name="T45" fmla="*/ 2147483647 h 72"/>
              <a:gd name="T46" fmla="*/ 2147483647 w 64"/>
              <a:gd name="T47" fmla="*/ 2147483647 h 72"/>
              <a:gd name="T48" fmla="*/ 2147483647 w 64"/>
              <a:gd name="T49" fmla="*/ 2147483647 h 72"/>
              <a:gd name="T50" fmla="*/ 2147483647 w 64"/>
              <a:gd name="T51" fmla="*/ 2147483647 h 72"/>
              <a:gd name="T52" fmla="*/ 2147483647 w 64"/>
              <a:gd name="T53" fmla="*/ 2147483647 h 72"/>
              <a:gd name="T54" fmla="*/ 2147483647 w 64"/>
              <a:gd name="T55" fmla="*/ 2147483647 h 72"/>
              <a:gd name="T56" fmla="*/ 2147483647 w 64"/>
              <a:gd name="T57" fmla="*/ 2147483647 h 72"/>
              <a:gd name="T58" fmla="*/ 2147483647 w 64"/>
              <a:gd name="T59" fmla="*/ 2147483647 h 72"/>
              <a:gd name="T60" fmla="*/ 2147483647 w 64"/>
              <a:gd name="T61" fmla="*/ 2147483647 h 72"/>
              <a:gd name="T62" fmla="*/ 2147483647 w 64"/>
              <a:gd name="T63" fmla="*/ 2147483647 h 72"/>
              <a:gd name="T64" fmla="*/ 2147483647 w 64"/>
              <a:gd name="T65" fmla="*/ 2147483647 h 72"/>
              <a:gd name="T66" fmla="*/ 2147483647 w 64"/>
              <a:gd name="T67" fmla="*/ 2147483647 h 72"/>
              <a:gd name="T68" fmla="*/ 2147483647 w 64"/>
              <a:gd name="T69" fmla="*/ 2147483647 h 72"/>
              <a:gd name="T70" fmla="*/ 2147483647 w 64"/>
              <a:gd name="T71" fmla="*/ 2147483647 h 72"/>
              <a:gd name="T72" fmla="*/ 2147483647 w 64"/>
              <a:gd name="T73" fmla="*/ 2147483647 h 72"/>
              <a:gd name="T74" fmla="*/ 2147483647 w 64"/>
              <a:gd name="T75" fmla="*/ 2147483647 h 72"/>
              <a:gd name="T76" fmla="*/ 2147483647 w 64"/>
              <a:gd name="T77" fmla="*/ 2147483647 h 72"/>
              <a:gd name="T78" fmla="*/ 2147483647 w 64"/>
              <a:gd name="T79" fmla="*/ 2147483647 h 72"/>
              <a:gd name="T80" fmla="*/ 2147483647 w 64"/>
              <a:gd name="T81" fmla="*/ 2147483647 h 72"/>
              <a:gd name="T82" fmla="*/ 2147483647 w 64"/>
              <a:gd name="T83" fmla="*/ 2147483647 h 72"/>
              <a:gd name="T84" fmla="*/ 2147483647 w 64"/>
              <a:gd name="T85" fmla="*/ 2147483647 h 72"/>
              <a:gd name="T86" fmla="*/ 2147483647 w 64"/>
              <a:gd name="T87" fmla="*/ 2147483647 h 72"/>
              <a:gd name="T88" fmla="*/ 2147483647 w 64"/>
              <a:gd name="T89" fmla="*/ 2147483647 h 72"/>
              <a:gd name="T90" fmla="*/ 2147483647 w 64"/>
              <a:gd name="T91" fmla="*/ 2147483647 h 72"/>
              <a:gd name="T92" fmla="*/ 2147483647 w 64"/>
              <a:gd name="T93" fmla="*/ 2147483647 h 72"/>
              <a:gd name="T94" fmla="*/ 2147483647 w 64"/>
              <a:gd name="T95" fmla="*/ 2147483647 h 72"/>
              <a:gd name="T96" fmla="*/ 2147483647 w 64"/>
              <a:gd name="T97" fmla="*/ 2147483647 h 72"/>
              <a:gd name="T98" fmla="*/ 2147483647 w 64"/>
              <a:gd name="T99" fmla="*/ 2147483647 h 72"/>
              <a:gd name="T100" fmla="*/ 2147483647 w 64"/>
              <a:gd name="T101" fmla="*/ 2147483647 h 72"/>
              <a:gd name="T102" fmla="*/ 2147483647 w 64"/>
              <a:gd name="T103" fmla="*/ 0 h 72"/>
              <a:gd name="T104" fmla="*/ 2147483647 w 64"/>
              <a:gd name="T105" fmla="*/ 2147483647 h 7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64"/>
              <a:gd name="T160" fmla="*/ 0 h 72"/>
              <a:gd name="T161" fmla="*/ 64 w 64"/>
              <a:gd name="T162" fmla="*/ 72 h 72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64" h="72">
                <a:moveTo>
                  <a:pt x="47" y="3"/>
                </a:moveTo>
                <a:lnTo>
                  <a:pt x="47" y="5"/>
                </a:lnTo>
                <a:lnTo>
                  <a:pt x="45" y="7"/>
                </a:lnTo>
                <a:lnTo>
                  <a:pt x="43" y="8"/>
                </a:lnTo>
                <a:lnTo>
                  <a:pt x="42" y="11"/>
                </a:lnTo>
                <a:lnTo>
                  <a:pt x="38" y="15"/>
                </a:lnTo>
                <a:lnTo>
                  <a:pt x="35" y="20"/>
                </a:lnTo>
                <a:lnTo>
                  <a:pt x="27" y="21"/>
                </a:lnTo>
                <a:lnTo>
                  <a:pt x="27" y="25"/>
                </a:lnTo>
                <a:lnTo>
                  <a:pt x="30" y="28"/>
                </a:lnTo>
                <a:lnTo>
                  <a:pt x="26" y="31"/>
                </a:lnTo>
                <a:lnTo>
                  <a:pt x="27" y="36"/>
                </a:lnTo>
                <a:lnTo>
                  <a:pt x="23" y="38"/>
                </a:lnTo>
                <a:lnTo>
                  <a:pt x="19" y="39"/>
                </a:lnTo>
                <a:lnTo>
                  <a:pt x="19" y="42"/>
                </a:lnTo>
                <a:lnTo>
                  <a:pt x="15" y="43"/>
                </a:lnTo>
                <a:lnTo>
                  <a:pt x="13" y="40"/>
                </a:lnTo>
                <a:lnTo>
                  <a:pt x="11" y="44"/>
                </a:lnTo>
                <a:lnTo>
                  <a:pt x="9" y="47"/>
                </a:lnTo>
                <a:lnTo>
                  <a:pt x="4" y="46"/>
                </a:lnTo>
                <a:lnTo>
                  <a:pt x="2" y="49"/>
                </a:lnTo>
                <a:lnTo>
                  <a:pt x="0" y="52"/>
                </a:lnTo>
                <a:lnTo>
                  <a:pt x="2" y="55"/>
                </a:lnTo>
                <a:lnTo>
                  <a:pt x="4" y="57"/>
                </a:lnTo>
                <a:lnTo>
                  <a:pt x="7" y="59"/>
                </a:lnTo>
                <a:lnTo>
                  <a:pt x="10" y="59"/>
                </a:lnTo>
                <a:lnTo>
                  <a:pt x="14" y="58"/>
                </a:lnTo>
                <a:lnTo>
                  <a:pt x="15" y="62"/>
                </a:lnTo>
                <a:lnTo>
                  <a:pt x="17" y="63"/>
                </a:lnTo>
                <a:lnTo>
                  <a:pt x="19" y="66"/>
                </a:lnTo>
                <a:lnTo>
                  <a:pt x="25" y="65"/>
                </a:lnTo>
                <a:lnTo>
                  <a:pt x="27" y="69"/>
                </a:lnTo>
                <a:lnTo>
                  <a:pt x="38" y="68"/>
                </a:lnTo>
                <a:lnTo>
                  <a:pt x="40" y="71"/>
                </a:lnTo>
                <a:lnTo>
                  <a:pt x="48" y="72"/>
                </a:lnTo>
                <a:lnTo>
                  <a:pt x="51" y="68"/>
                </a:lnTo>
                <a:lnTo>
                  <a:pt x="53" y="63"/>
                </a:lnTo>
                <a:lnTo>
                  <a:pt x="57" y="62"/>
                </a:lnTo>
                <a:lnTo>
                  <a:pt x="62" y="62"/>
                </a:lnTo>
                <a:lnTo>
                  <a:pt x="64" y="58"/>
                </a:lnTo>
                <a:lnTo>
                  <a:pt x="62" y="56"/>
                </a:lnTo>
                <a:lnTo>
                  <a:pt x="62" y="49"/>
                </a:lnTo>
                <a:lnTo>
                  <a:pt x="63" y="44"/>
                </a:lnTo>
                <a:lnTo>
                  <a:pt x="58" y="42"/>
                </a:lnTo>
                <a:lnTo>
                  <a:pt x="60" y="34"/>
                </a:lnTo>
                <a:lnTo>
                  <a:pt x="59" y="25"/>
                </a:lnTo>
                <a:lnTo>
                  <a:pt x="62" y="19"/>
                </a:lnTo>
                <a:lnTo>
                  <a:pt x="63" y="16"/>
                </a:lnTo>
                <a:lnTo>
                  <a:pt x="60" y="13"/>
                </a:lnTo>
                <a:lnTo>
                  <a:pt x="56" y="7"/>
                </a:lnTo>
                <a:lnTo>
                  <a:pt x="52" y="3"/>
                </a:lnTo>
                <a:lnTo>
                  <a:pt x="50" y="0"/>
                </a:lnTo>
                <a:lnTo>
                  <a:pt x="47" y="3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 anchor="b"/>
          <a:lstStyle/>
          <a:p>
            <a:endParaRPr lang="ru-RU"/>
          </a:p>
        </p:txBody>
      </p:sp>
      <p:sp>
        <p:nvSpPr>
          <p:cNvPr id="62" name="Freeform 52"/>
          <p:cNvSpPr>
            <a:spLocks/>
          </p:cNvSpPr>
          <p:nvPr/>
        </p:nvSpPr>
        <p:spPr bwMode="auto">
          <a:xfrm>
            <a:off x="2745932" y="2578099"/>
            <a:ext cx="295275" cy="400050"/>
          </a:xfrm>
          <a:custGeom>
            <a:avLst/>
            <a:gdLst>
              <a:gd name="T0" fmla="*/ 2147483647 w 31"/>
              <a:gd name="T1" fmla="*/ 2147483647 h 42"/>
              <a:gd name="T2" fmla="*/ 2147483647 w 31"/>
              <a:gd name="T3" fmla="*/ 2147483647 h 42"/>
              <a:gd name="T4" fmla="*/ 2147483647 w 31"/>
              <a:gd name="T5" fmla="*/ 2147483647 h 42"/>
              <a:gd name="T6" fmla="*/ 2147483647 w 31"/>
              <a:gd name="T7" fmla="*/ 2147483647 h 42"/>
              <a:gd name="T8" fmla="*/ 2147483647 w 31"/>
              <a:gd name="T9" fmla="*/ 2147483647 h 42"/>
              <a:gd name="T10" fmla="*/ 2147483647 w 31"/>
              <a:gd name="T11" fmla="*/ 2147483647 h 42"/>
              <a:gd name="T12" fmla="*/ 2147483647 w 31"/>
              <a:gd name="T13" fmla="*/ 2147483647 h 42"/>
              <a:gd name="T14" fmla="*/ 2147483647 w 31"/>
              <a:gd name="T15" fmla="*/ 2147483647 h 42"/>
              <a:gd name="T16" fmla="*/ 0 w 31"/>
              <a:gd name="T17" fmla="*/ 2147483647 h 42"/>
              <a:gd name="T18" fmla="*/ 2147483647 w 31"/>
              <a:gd name="T19" fmla="*/ 2147483647 h 42"/>
              <a:gd name="T20" fmla="*/ 2147483647 w 31"/>
              <a:gd name="T21" fmla="*/ 2147483647 h 42"/>
              <a:gd name="T22" fmla="*/ 2147483647 w 31"/>
              <a:gd name="T23" fmla="*/ 2147483647 h 42"/>
              <a:gd name="T24" fmla="*/ 2147483647 w 31"/>
              <a:gd name="T25" fmla="*/ 2147483647 h 42"/>
              <a:gd name="T26" fmla="*/ 2147483647 w 31"/>
              <a:gd name="T27" fmla="*/ 2147483647 h 42"/>
              <a:gd name="T28" fmla="*/ 2147483647 w 31"/>
              <a:gd name="T29" fmla="*/ 2147483647 h 42"/>
              <a:gd name="T30" fmla="*/ 2147483647 w 31"/>
              <a:gd name="T31" fmla="*/ 2147483647 h 42"/>
              <a:gd name="T32" fmla="*/ 2147483647 w 31"/>
              <a:gd name="T33" fmla="*/ 2147483647 h 42"/>
              <a:gd name="T34" fmla="*/ 2147483647 w 31"/>
              <a:gd name="T35" fmla="*/ 2147483647 h 42"/>
              <a:gd name="T36" fmla="*/ 2147483647 w 31"/>
              <a:gd name="T37" fmla="*/ 2147483647 h 42"/>
              <a:gd name="T38" fmla="*/ 2147483647 w 31"/>
              <a:gd name="T39" fmla="*/ 0 h 42"/>
              <a:gd name="T40" fmla="*/ 2147483647 w 31"/>
              <a:gd name="T41" fmla="*/ 2147483647 h 42"/>
              <a:gd name="T42" fmla="*/ 2147483647 w 31"/>
              <a:gd name="T43" fmla="*/ 2147483647 h 42"/>
              <a:gd name="T44" fmla="*/ 2147483647 w 31"/>
              <a:gd name="T45" fmla="*/ 2147483647 h 42"/>
              <a:gd name="T46" fmla="*/ 2147483647 w 31"/>
              <a:gd name="T47" fmla="*/ 2147483647 h 42"/>
              <a:gd name="T48" fmla="*/ 2147483647 w 31"/>
              <a:gd name="T49" fmla="*/ 2147483647 h 42"/>
              <a:gd name="T50" fmla="*/ 2147483647 w 31"/>
              <a:gd name="T51" fmla="*/ 2147483647 h 42"/>
              <a:gd name="T52" fmla="*/ 2147483647 w 31"/>
              <a:gd name="T53" fmla="*/ 2147483647 h 42"/>
              <a:gd name="T54" fmla="*/ 2147483647 w 31"/>
              <a:gd name="T55" fmla="*/ 2147483647 h 42"/>
              <a:gd name="T56" fmla="*/ 2147483647 w 31"/>
              <a:gd name="T57" fmla="*/ 2147483647 h 42"/>
              <a:gd name="T58" fmla="*/ 2147483647 w 31"/>
              <a:gd name="T59" fmla="*/ 2147483647 h 42"/>
              <a:gd name="T60" fmla="*/ 2147483647 w 31"/>
              <a:gd name="T61" fmla="*/ 2147483647 h 42"/>
              <a:gd name="T62" fmla="*/ 2147483647 w 31"/>
              <a:gd name="T63" fmla="*/ 2147483647 h 42"/>
              <a:gd name="T64" fmla="*/ 2147483647 w 31"/>
              <a:gd name="T65" fmla="*/ 2147483647 h 42"/>
              <a:gd name="T66" fmla="*/ 2147483647 w 31"/>
              <a:gd name="T67" fmla="*/ 2147483647 h 42"/>
              <a:gd name="T68" fmla="*/ 2147483647 w 31"/>
              <a:gd name="T69" fmla="*/ 2147483647 h 42"/>
              <a:gd name="T70" fmla="*/ 2147483647 w 31"/>
              <a:gd name="T71" fmla="*/ 2147483647 h 42"/>
              <a:gd name="T72" fmla="*/ 2147483647 w 31"/>
              <a:gd name="T73" fmla="*/ 2147483647 h 42"/>
              <a:gd name="T74" fmla="*/ 2147483647 w 31"/>
              <a:gd name="T75" fmla="*/ 2147483647 h 42"/>
              <a:gd name="T76" fmla="*/ 2147483647 w 31"/>
              <a:gd name="T77" fmla="*/ 2147483647 h 42"/>
              <a:gd name="T78" fmla="*/ 2147483647 w 31"/>
              <a:gd name="T79" fmla="*/ 2147483647 h 42"/>
              <a:gd name="T80" fmla="*/ 2147483647 w 31"/>
              <a:gd name="T81" fmla="*/ 2147483647 h 42"/>
              <a:gd name="T82" fmla="*/ 2147483647 w 31"/>
              <a:gd name="T83" fmla="*/ 2147483647 h 4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31"/>
              <a:gd name="T127" fmla="*/ 0 h 42"/>
              <a:gd name="T128" fmla="*/ 31 w 31"/>
              <a:gd name="T129" fmla="*/ 42 h 4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31" h="42">
                <a:moveTo>
                  <a:pt x="5" y="42"/>
                </a:moveTo>
                <a:lnTo>
                  <a:pt x="5" y="36"/>
                </a:lnTo>
                <a:lnTo>
                  <a:pt x="4" y="34"/>
                </a:lnTo>
                <a:lnTo>
                  <a:pt x="1" y="34"/>
                </a:lnTo>
                <a:lnTo>
                  <a:pt x="1" y="32"/>
                </a:lnTo>
                <a:lnTo>
                  <a:pt x="3" y="30"/>
                </a:lnTo>
                <a:lnTo>
                  <a:pt x="2" y="27"/>
                </a:lnTo>
                <a:lnTo>
                  <a:pt x="1" y="27"/>
                </a:lnTo>
                <a:lnTo>
                  <a:pt x="0" y="25"/>
                </a:lnTo>
                <a:lnTo>
                  <a:pt x="1" y="21"/>
                </a:lnTo>
                <a:lnTo>
                  <a:pt x="3" y="20"/>
                </a:lnTo>
                <a:lnTo>
                  <a:pt x="5" y="18"/>
                </a:lnTo>
                <a:lnTo>
                  <a:pt x="7" y="14"/>
                </a:lnTo>
                <a:lnTo>
                  <a:pt x="11" y="14"/>
                </a:lnTo>
                <a:lnTo>
                  <a:pt x="11" y="11"/>
                </a:lnTo>
                <a:lnTo>
                  <a:pt x="12" y="7"/>
                </a:lnTo>
                <a:lnTo>
                  <a:pt x="20" y="7"/>
                </a:lnTo>
                <a:lnTo>
                  <a:pt x="20" y="4"/>
                </a:lnTo>
                <a:lnTo>
                  <a:pt x="23" y="2"/>
                </a:lnTo>
                <a:lnTo>
                  <a:pt x="27" y="0"/>
                </a:lnTo>
                <a:lnTo>
                  <a:pt x="29" y="1"/>
                </a:lnTo>
                <a:lnTo>
                  <a:pt x="29" y="5"/>
                </a:lnTo>
                <a:lnTo>
                  <a:pt x="30" y="7"/>
                </a:lnTo>
                <a:lnTo>
                  <a:pt x="31" y="9"/>
                </a:lnTo>
                <a:lnTo>
                  <a:pt x="30" y="11"/>
                </a:lnTo>
                <a:lnTo>
                  <a:pt x="29" y="13"/>
                </a:lnTo>
                <a:lnTo>
                  <a:pt x="30" y="15"/>
                </a:lnTo>
                <a:lnTo>
                  <a:pt x="26" y="17"/>
                </a:lnTo>
                <a:lnTo>
                  <a:pt x="25" y="19"/>
                </a:lnTo>
                <a:lnTo>
                  <a:pt x="27" y="25"/>
                </a:lnTo>
                <a:lnTo>
                  <a:pt x="22" y="26"/>
                </a:lnTo>
                <a:lnTo>
                  <a:pt x="21" y="28"/>
                </a:lnTo>
                <a:lnTo>
                  <a:pt x="19" y="29"/>
                </a:lnTo>
                <a:lnTo>
                  <a:pt x="19" y="32"/>
                </a:lnTo>
                <a:lnTo>
                  <a:pt x="16" y="33"/>
                </a:lnTo>
                <a:lnTo>
                  <a:pt x="16" y="36"/>
                </a:lnTo>
                <a:lnTo>
                  <a:pt x="15" y="38"/>
                </a:lnTo>
                <a:lnTo>
                  <a:pt x="13" y="41"/>
                </a:lnTo>
                <a:lnTo>
                  <a:pt x="10" y="42"/>
                </a:lnTo>
                <a:lnTo>
                  <a:pt x="8" y="42"/>
                </a:lnTo>
                <a:lnTo>
                  <a:pt x="6" y="41"/>
                </a:lnTo>
                <a:lnTo>
                  <a:pt x="5" y="42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63" name="Freeform 53"/>
          <p:cNvSpPr>
            <a:spLocks/>
          </p:cNvSpPr>
          <p:nvPr/>
        </p:nvSpPr>
        <p:spPr bwMode="auto">
          <a:xfrm>
            <a:off x="2926907" y="2720974"/>
            <a:ext cx="352425" cy="314325"/>
          </a:xfrm>
          <a:custGeom>
            <a:avLst/>
            <a:gdLst>
              <a:gd name="T0" fmla="*/ 2147483647 w 37"/>
              <a:gd name="T1" fmla="*/ 2147483647 h 33"/>
              <a:gd name="T2" fmla="*/ 2147483647 w 37"/>
              <a:gd name="T3" fmla="*/ 2147483647 h 33"/>
              <a:gd name="T4" fmla="*/ 2147483647 w 37"/>
              <a:gd name="T5" fmla="*/ 2147483647 h 33"/>
              <a:gd name="T6" fmla="*/ 2147483647 w 37"/>
              <a:gd name="T7" fmla="*/ 2147483647 h 33"/>
              <a:gd name="T8" fmla="*/ 2147483647 w 37"/>
              <a:gd name="T9" fmla="*/ 2147483647 h 33"/>
              <a:gd name="T10" fmla="*/ 2147483647 w 37"/>
              <a:gd name="T11" fmla="*/ 2147483647 h 33"/>
              <a:gd name="T12" fmla="*/ 2147483647 w 37"/>
              <a:gd name="T13" fmla="*/ 2147483647 h 33"/>
              <a:gd name="T14" fmla="*/ 2147483647 w 37"/>
              <a:gd name="T15" fmla="*/ 2147483647 h 33"/>
              <a:gd name="T16" fmla="*/ 2147483647 w 37"/>
              <a:gd name="T17" fmla="*/ 2147483647 h 33"/>
              <a:gd name="T18" fmla="*/ 2147483647 w 37"/>
              <a:gd name="T19" fmla="*/ 2147483647 h 33"/>
              <a:gd name="T20" fmla="*/ 2147483647 w 37"/>
              <a:gd name="T21" fmla="*/ 2147483647 h 33"/>
              <a:gd name="T22" fmla="*/ 2147483647 w 37"/>
              <a:gd name="T23" fmla="*/ 2147483647 h 33"/>
              <a:gd name="T24" fmla="*/ 2147483647 w 37"/>
              <a:gd name="T25" fmla="*/ 2147483647 h 33"/>
              <a:gd name="T26" fmla="*/ 2147483647 w 37"/>
              <a:gd name="T27" fmla="*/ 2147483647 h 33"/>
              <a:gd name="T28" fmla="*/ 2147483647 w 37"/>
              <a:gd name="T29" fmla="*/ 2147483647 h 33"/>
              <a:gd name="T30" fmla="*/ 0 w 37"/>
              <a:gd name="T31" fmla="*/ 2147483647 h 33"/>
              <a:gd name="T32" fmla="*/ 0 w 37"/>
              <a:gd name="T33" fmla="*/ 2147483647 h 33"/>
              <a:gd name="T34" fmla="*/ 2147483647 w 37"/>
              <a:gd name="T35" fmla="*/ 2147483647 h 33"/>
              <a:gd name="T36" fmla="*/ 2147483647 w 37"/>
              <a:gd name="T37" fmla="*/ 2147483647 h 33"/>
              <a:gd name="T38" fmla="*/ 2147483647 w 37"/>
              <a:gd name="T39" fmla="*/ 2147483647 h 33"/>
              <a:gd name="T40" fmla="*/ 2147483647 w 37"/>
              <a:gd name="T41" fmla="*/ 2147483647 h 33"/>
              <a:gd name="T42" fmla="*/ 2147483647 w 37"/>
              <a:gd name="T43" fmla="*/ 2147483647 h 33"/>
              <a:gd name="T44" fmla="*/ 2147483647 w 37"/>
              <a:gd name="T45" fmla="*/ 0 h 33"/>
              <a:gd name="T46" fmla="*/ 2147483647 w 37"/>
              <a:gd name="T47" fmla="*/ 2147483647 h 33"/>
              <a:gd name="T48" fmla="*/ 2147483647 w 37"/>
              <a:gd name="T49" fmla="*/ 0 h 33"/>
              <a:gd name="T50" fmla="*/ 2147483647 w 37"/>
              <a:gd name="T51" fmla="*/ 2147483647 h 33"/>
              <a:gd name="T52" fmla="*/ 2147483647 w 37"/>
              <a:gd name="T53" fmla="*/ 2147483647 h 33"/>
              <a:gd name="T54" fmla="*/ 2147483647 w 37"/>
              <a:gd name="T55" fmla="*/ 2147483647 h 33"/>
              <a:gd name="T56" fmla="*/ 2147483647 w 37"/>
              <a:gd name="T57" fmla="*/ 2147483647 h 33"/>
              <a:gd name="T58" fmla="*/ 2147483647 w 37"/>
              <a:gd name="T59" fmla="*/ 2147483647 h 33"/>
              <a:gd name="T60" fmla="*/ 2147483647 w 37"/>
              <a:gd name="T61" fmla="*/ 2147483647 h 33"/>
              <a:gd name="T62" fmla="*/ 2147483647 w 37"/>
              <a:gd name="T63" fmla="*/ 2147483647 h 33"/>
              <a:gd name="T64" fmla="*/ 2147483647 w 37"/>
              <a:gd name="T65" fmla="*/ 2147483647 h 33"/>
              <a:gd name="T66" fmla="*/ 2147483647 w 37"/>
              <a:gd name="T67" fmla="*/ 2147483647 h 33"/>
              <a:gd name="T68" fmla="*/ 2147483647 w 37"/>
              <a:gd name="T69" fmla="*/ 2147483647 h 33"/>
              <a:gd name="T70" fmla="*/ 2147483647 w 37"/>
              <a:gd name="T71" fmla="*/ 2147483647 h 33"/>
              <a:gd name="T72" fmla="*/ 2147483647 w 37"/>
              <a:gd name="T73" fmla="*/ 2147483647 h 33"/>
              <a:gd name="T74" fmla="*/ 2147483647 w 37"/>
              <a:gd name="T75" fmla="*/ 2147483647 h 33"/>
              <a:gd name="T76" fmla="*/ 2147483647 w 37"/>
              <a:gd name="T77" fmla="*/ 2147483647 h 33"/>
              <a:gd name="T78" fmla="*/ 2147483647 w 37"/>
              <a:gd name="T79" fmla="*/ 2147483647 h 33"/>
              <a:gd name="T80" fmla="*/ 2147483647 w 37"/>
              <a:gd name="T81" fmla="*/ 2147483647 h 33"/>
              <a:gd name="T82" fmla="*/ 2147483647 w 37"/>
              <a:gd name="T83" fmla="*/ 2147483647 h 33"/>
              <a:gd name="T84" fmla="*/ 2147483647 w 37"/>
              <a:gd name="T85" fmla="*/ 2147483647 h 3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7"/>
              <a:gd name="T130" fmla="*/ 0 h 33"/>
              <a:gd name="T131" fmla="*/ 37 w 37"/>
              <a:gd name="T132" fmla="*/ 33 h 33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7" h="33">
                <a:moveTo>
                  <a:pt x="36" y="33"/>
                </a:moveTo>
                <a:lnTo>
                  <a:pt x="33" y="30"/>
                </a:lnTo>
                <a:lnTo>
                  <a:pt x="29" y="29"/>
                </a:lnTo>
                <a:lnTo>
                  <a:pt x="26" y="26"/>
                </a:lnTo>
                <a:lnTo>
                  <a:pt x="24" y="24"/>
                </a:lnTo>
                <a:lnTo>
                  <a:pt x="23" y="23"/>
                </a:lnTo>
                <a:lnTo>
                  <a:pt x="21" y="24"/>
                </a:lnTo>
                <a:lnTo>
                  <a:pt x="21" y="26"/>
                </a:lnTo>
                <a:lnTo>
                  <a:pt x="19" y="26"/>
                </a:lnTo>
                <a:lnTo>
                  <a:pt x="15" y="26"/>
                </a:lnTo>
                <a:lnTo>
                  <a:pt x="13" y="23"/>
                </a:lnTo>
                <a:lnTo>
                  <a:pt x="9" y="22"/>
                </a:lnTo>
                <a:lnTo>
                  <a:pt x="6" y="21"/>
                </a:lnTo>
                <a:lnTo>
                  <a:pt x="3" y="21"/>
                </a:lnTo>
                <a:lnTo>
                  <a:pt x="2" y="19"/>
                </a:lnTo>
                <a:lnTo>
                  <a:pt x="0" y="17"/>
                </a:lnTo>
                <a:lnTo>
                  <a:pt x="0" y="14"/>
                </a:lnTo>
                <a:lnTo>
                  <a:pt x="2" y="13"/>
                </a:lnTo>
                <a:lnTo>
                  <a:pt x="3" y="11"/>
                </a:lnTo>
                <a:lnTo>
                  <a:pt x="8" y="10"/>
                </a:lnTo>
                <a:lnTo>
                  <a:pt x="6" y="4"/>
                </a:lnTo>
                <a:lnTo>
                  <a:pt x="7" y="2"/>
                </a:lnTo>
                <a:lnTo>
                  <a:pt x="11" y="0"/>
                </a:lnTo>
                <a:lnTo>
                  <a:pt x="12" y="2"/>
                </a:lnTo>
                <a:lnTo>
                  <a:pt x="16" y="0"/>
                </a:lnTo>
                <a:lnTo>
                  <a:pt x="18" y="2"/>
                </a:lnTo>
                <a:lnTo>
                  <a:pt x="21" y="2"/>
                </a:lnTo>
                <a:lnTo>
                  <a:pt x="22" y="4"/>
                </a:lnTo>
                <a:lnTo>
                  <a:pt x="26" y="3"/>
                </a:lnTo>
                <a:lnTo>
                  <a:pt x="29" y="4"/>
                </a:lnTo>
                <a:lnTo>
                  <a:pt x="28" y="7"/>
                </a:lnTo>
                <a:lnTo>
                  <a:pt x="28" y="10"/>
                </a:lnTo>
                <a:lnTo>
                  <a:pt x="33" y="10"/>
                </a:lnTo>
                <a:lnTo>
                  <a:pt x="32" y="12"/>
                </a:lnTo>
                <a:lnTo>
                  <a:pt x="34" y="13"/>
                </a:lnTo>
                <a:lnTo>
                  <a:pt x="33" y="15"/>
                </a:lnTo>
                <a:lnTo>
                  <a:pt x="35" y="16"/>
                </a:lnTo>
                <a:lnTo>
                  <a:pt x="36" y="21"/>
                </a:lnTo>
                <a:lnTo>
                  <a:pt x="36" y="25"/>
                </a:lnTo>
                <a:lnTo>
                  <a:pt x="34" y="26"/>
                </a:lnTo>
                <a:lnTo>
                  <a:pt x="36" y="28"/>
                </a:lnTo>
                <a:lnTo>
                  <a:pt x="37" y="31"/>
                </a:lnTo>
                <a:lnTo>
                  <a:pt x="36" y="33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64" name="Freeform 54"/>
          <p:cNvSpPr>
            <a:spLocks/>
          </p:cNvSpPr>
          <p:nvPr/>
        </p:nvSpPr>
        <p:spPr bwMode="auto">
          <a:xfrm>
            <a:off x="3022157" y="2501899"/>
            <a:ext cx="485775" cy="457200"/>
          </a:xfrm>
          <a:custGeom>
            <a:avLst/>
            <a:gdLst>
              <a:gd name="T0" fmla="*/ 2147483647 w 51"/>
              <a:gd name="T1" fmla="*/ 2147483647 h 48"/>
              <a:gd name="T2" fmla="*/ 2147483647 w 51"/>
              <a:gd name="T3" fmla="*/ 2147483647 h 48"/>
              <a:gd name="T4" fmla="*/ 2147483647 w 51"/>
              <a:gd name="T5" fmla="*/ 2147483647 h 48"/>
              <a:gd name="T6" fmla="*/ 2147483647 w 51"/>
              <a:gd name="T7" fmla="*/ 2147483647 h 48"/>
              <a:gd name="T8" fmla="*/ 2147483647 w 51"/>
              <a:gd name="T9" fmla="*/ 2147483647 h 48"/>
              <a:gd name="T10" fmla="*/ 2147483647 w 51"/>
              <a:gd name="T11" fmla="*/ 2147483647 h 48"/>
              <a:gd name="T12" fmla="*/ 2147483647 w 51"/>
              <a:gd name="T13" fmla="*/ 2147483647 h 48"/>
              <a:gd name="T14" fmla="*/ 2147483647 w 51"/>
              <a:gd name="T15" fmla="*/ 2147483647 h 48"/>
              <a:gd name="T16" fmla="*/ 2147483647 w 51"/>
              <a:gd name="T17" fmla="*/ 2147483647 h 48"/>
              <a:gd name="T18" fmla="*/ 2147483647 w 51"/>
              <a:gd name="T19" fmla="*/ 2147483647 h 48"/>
              <a:gd name="T20" fmla="*/ 2147483647 w 51"/>
              <a:gd name="T21" fmla="*/ 2147483647 h 48"/>
              <a:gd name="T22" fmla="*/ 2147483647 w 51"/>
              <a:gd name="T23" fmla="*/ 2147483647 h 48"/>
              <a:gd name="T24" fmla="*/ 2147483647 w 51"/>
              <a:gd name="T25" fmla="*/ 2147483647 h 48"/>
              <a:gd name="T26" fmla="*/ 2147483647 w 51"/>
              <a:gd name="T27" fmla="*/ 2147483647 h 48"/>
              <a:gd name="T28" fmla="*/ 2147483647 w 51"/>
              <a:gd name="T29" fmla="*/ 2147483647 h 48"/>
              <a:gd name="T30" fmla="*/ 2147483647 w 51"/>
              <a:gd name="T31" fmla="*/ 2147483647 h 48"/>
              <a:gd name="T32" fmla="*/ 2147483647 w 51"/>
              <a:gd name="T33" fmla="*/ 2147483647 h 48"/>
              <a:gd name="T34" fmla="*/ 0 w 51"/>
              <a:gd name="T35" fmla="*/ 2147483647 h 48"/>
              <a:gd name="T36" fmla="*/ 2147483647 w 51"/>
              <a:gd name="T37" fmla="*/ 2147483647 h 48"/>
              <a:gd name="T38" fmla="*/ 2147483647 w 51"/>
              <a:gd name="T39" fmla="*/ 2147483647 h 48"/>
              <a:gd name="T40" fmla="*/ 2147483647 w 51"/>
              <a:gd name="T41" fmla="*/ 2147483647 h 48"/>
              <a:gd name="T42" fmla="*/ 0 w 51"/>
              <a:gd name="T43" fmla="*/ 2147483647 h 48"/>
              <a:gd name="T44" fmla="*/ 0 w 51"/>
              <a:gd name="T45" fmla="*/ 2147483647 h 48"/>
              <a:gd name="T46" fmla="*/ 2147483647 w 51"/>
              <a:gd name="T47" fmla="*/ 2147483647 h 48"/>
              <a:gd name="T48" fmla="*/ 2147483647 w 51"/>
              <a:gd name="T49" fmla="*/ 2147483647 h 48"/>
              <a:gd name="T50" fmla="*/ 2147483647 w 51"/>
              <a:gd name="T51" fmla="*/ 2147483647 h 48"/>
              <a:gd name="T52" fmla="*/ 2147483647 w 51"/>
              <a:gd name="T53" fmla="*/ 2147483647 h 48"/>
              <a:gd name="T54" fmla="*/ 2147483647 w 51"/>
              <a:gd name="T55" fmla="*/ 2147483647 h 48"/>
              <a:gd name="T56" fmla="*/ 2147483647 w 51"/>
              <a:gd name="T57" fmla="*/ 2147483647 h 48"/>
              <a:gd name="T58" fmla="*/ 2147483647 w 51"/>
              <a:gd name="T59" fmla="*/ 2147483647 h 48"/>
              <a:gd name="T60" fmla="*/ 2147483647 w 51"/>
              <a:gd name="T61" fmla="*/ 2147483647 h 48"/>
              <a:gd name="T62" fmla="*/ 2147483647 w 51"/>
              <a:gd name="T63" fmla="*/ 2147483647 h 48"/>
              <a:gd name="T64" fmla="*/ 2147483647 w 51"/>
              <a:gd name="T65" fmla="*/ 2147483647 h 48"/>
              <a:gd name="T66" fmla="*/ 2147483647 w 51"/>
              <a:gd name="T67" fmla="*/ 2147483647 h 48"/>
              <a:gd name="T68" fmla="*/ 2147483647 w 51"/>
              <a:gd name="T69" fmla="*/ 2147483647 h 48"/>
              <a:gd name="T70" fmla="*/ 2147483647 w 51"/>
              <a:gd name="T71" fmla="*/ 2147483647 h 48"/>
              <a:gd name="T72" fmla="*/ 2147483647 w 51"/>
              <a:gd name="T73" fmla="*/ 0 h 48"/>
              <a:gd name="T74" fmla="*/ 2147483647 w 51"/>
              <a:gd name="T75" fmla="*/ 2147483647 h 48"/>
              <a:gd name="T76" fmla="*/ 2147483647 w 51"/>
              <a:gd name="T77" fmla="*/ 2147483647 h 48"/>
              <a:gd name="T78" fmla="*/ 2147483647 w 51"/>
              <a:gd name="T79" fmla="*/ 2147483647 h 48"/>
              <a:gd name="T80" fmla="*/ 2147483647 w 51"/>
              <a:gd name="T81" fmla="*/ 2147483647 h 48"/>
              <a:gd name="T82" fmla="*/ 2147483647 w 51"/>
              <a:gd name="T83" fmla="*/ 2147483647 h 48"/>
              <a:gd name="T84" fmla="*/ 2147483647 w 51"/>
              <a:gd name="T85" fmla="*/ 2147483647 h 48"/>
              <a:gd name="T86" fmla="*/ 2147483647 w 51"/>
              <a:gd name="T87" fmla="*/ 2147483647 h 48"/>
              <a:gd name="T88" fmla="*/ 2147483647 w 51"/>
              <a:gd name="T89" fmla="*/ 2147483647 h 48"/>
              <a:gd name="T90" fmla="*/ 2147483647 w 51"/>
              <a:gd name="T91" fmla="*/ 2147483647 h 48"/>
              <a:gd name="T92" fmla="*/ 2147483647 w 51"/>
              <a:gd name="T93" fmla="*/ 2147483647 h 48"/>
              <a:gd name="T94" fmla="*/ 2147483647 w 51"/>
              <a:gd name="T95" fmla="*/ 2147483647 h 48"/>
              <a:gd name="T96" fmla="*/ 2147483647 w 51"/>
              <a:gd name="T97" fmla="*/ 2147483647 h 48"/>
              <a:gd name="T98" fmla="*/ 2147483647 w 51"/>
              <a:gd name="T99" fmla="*/ 2147483647 h 48"/>
              <a:gd name="T100" fmla="*/ 2147483647 w 51"/>
              <a:gd name="T101" fmla="*/ 2147483647 h 48"/>
              <a:gd name="T102" fmla="*/ 2147483647 w 51"/>
              <a:gd name="T103" fmla="*/ 2147483647 h 48"/>
              <a:gd name="T104" fmla="*/ 2147483647 w 51"/>
              <a:gd name="T105" fmla="*/ 2147483647 h 48"/>
              <a:gd name="T106" fmla="*/ 2147483647 w 51"/>
              <a:gd name="T107" fmla="*/ 2147483647 h 48"/>
              <a:gd name="T108" fmla="*/ 2147483647 w 51"/>
              <a:gd name="T109" fmla="*/ 2147483647 h 48"/>
              <a:gd name="T110" fmla="*/ 2147483647 w 51"/>
              <a:gd name="T111" fmla="*/ 2147483647 h 48"/>
              <a:gd name="T112" fmla="*/ 2147483647 w 51"/>
              <a:gd name="T113" fmla="*/ 2147483647 h 48"/>
              <a:gd name="T114" fmla="*/ 2147483647 w 51"/>
              <a:gd name="T115" fmla="*/ 2147483647 h 48"/>
              <a:gd name="T116" fmla="*/ 2147483647 w 51"/>
              <a:gd name="T117" fmla="*/ 2147483647 h 4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51"/>
              <a:gd name="T178" fmla="*/ 0 h 48"/>
              <a:gd name="T179" fmla="*/ 51 w 51"/>
              <a:gd name="T180" fmla="*/ 48 h 4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51" h="48">
                <a:moveTo>
                  <a:pt x="26" y="48"/>
                </a:moveTo>
                <a:lnTo>
                  <a:pt x="26" y="44"/>
                </a:lnTo>
                <a:lnTo>
                  <a:pt x="25" y="39"/>
                </a:lnTo>
                <a:lnTo>
                  <a:pt x="23" y="38"/>
                </a:lnTo>
                <a:lnTo>
                  <a:pt x="24" y="36"/>
                </a:lnTo>
                <a:lnTo>
                  <a:pt x="22" y="35"/>
                </a:lnTo>
                <a:lnTo>
                  <a:pt x="23" y="33"/>
                </a:lnTo>
                <a:lnTo>
                  <a:pt x="18" y="33"/>
                </a:lnTo>
                <a:lnTo>
                  <a:pt x="18" y="30"/>
                </a:lnTo>
                <a:lnTo>
                  <a:pt x="19" y="27"/>
                </a:lnTo>
                <a:lnTo>
                  <a:pt x="16" y="26"/>
                </a:lnTo>
                <a:lnTo>
                  <a:pt x="12" y="27"/>
                </a:lnTo>
                <a:lnTo>
                  <a:pt x="11" y="25"/>
                </a:lnTo>
                <a:lnTo>
                  <a:pt x="8" y="25"/>
                </a:lnTo>
                <a:lnTo>
                  <a:pt x="6" y="23"/>
                </a:lnTo>
                <a:lnTo>
                  <a:pt x="2" y="25"/>
                </a:lnTo>
                <a:lnTo>
                  <a:pt x="1" y="23"/>
                </a:lnTo>
                <a:lnTo>
                  <a:pt x="0" y="21"/>
                </a:lnTo>
                <a:lnTo>
                  <a:pt x="1" y="19"/>
                </a:lnTo>
                <a:lnTo>
                  <a:pt x="2" y="17"/>
                </a:lnTo>
                <a:lnTo>
                  <a:pt x="1" y="15"/>
                </a:lnTo>
                <a:lnTo>
                  <a:pt x="0" y="13"/>
                </a:lnTo>
                <a:lnTo>
                  <a:pt x="0" y="9"/>
                </a:lnTo>
                <a:lnTo>
                  <a:pt x="2" y="7"/>
                </a:lnTo>
                <a:lnTo>
                  <a:pt x="5" y="7"/>
                </a:lnTo>
                <a:lnTo>
                  <a:pt x="8" y="5"/>
                </a:lnTo>
                <a:lnTo>
                  <a:pt x="11" y="7"/>
                </a:lnTo>
                <a:lnTo>
                  <a:pt x="12" y="9"/>
                </a:lnTo>
                <a:lnTo>
                  <a:pt x="15" y="9"/>
                </a:lnTo>
                <a:lnTo>
                  <a:pt x="16" y="12"/>
                </a:lnTo>
                <a:lnTo>
                  <a:pt x="18" y="12"/>
                </a:lnTo>
                <a:lnTo>
                  <a:pt x="19" y="11"/>
                </a:lnTo>
                <a:lnTo>
                  <a:pt x="17" y="9"/>
                </a:lnTo>
                <a:lnTo>
                  <a:pt x="17" y="5"/>
                </a:lnTo>
                <a:lnTo>
                  <a:pt x="17" y="3"/>
                </a:lnTo>
                <a:lnTo>
                  <a:pt x="23" y="1"/>
                </a:lnTo>
                <a:lnTo>
                  <a:pt x="28" y="0"/>
                </a:lnTo>
                <a:lnTo>
                  <a:pt x="30" y="7"/>
                </a:lnTo>
                <a:lnTo>
                  <a:pt x="30" y="11"/>
                </a:lnTo>
                <a:lnTo>
                  <a:pt x="25" y="17"/>
                </a:lnTo>
                <a:lnTo>
                  <a:pt x="22" y="20"/>
                </a:lnTo>
                <a:lnTo>
                  <a:pt x="23" y="22"/>
                </a:lnTo>
                <a:lnTo>
                  <a:pt x="27" y="21"/>
                </a:lnTo>
                <a:lnTo>
                  <a:pt x="29" y="25"/>
                </a:lnTo>
                <a:lnTo>
                  <a:pt x="33" y="25"/>
                </a:lnTo>
                <a:lnTo>
                  <a:pt x="34" y="27"/>
                </a:lnTo>
                <a:lnTo>
                  <a:pt x="37" y="27"/>
                </a:lnTo>
                <a:lnTo>
                  <a:pt x="38" y="25"/>
                </a:lnTo>
                <a:lnTo>
                  <a:pt x="40" y="25"/>
                </a:lnTo>
                <a:lnTo>
                  <a:pt x="43" y="25"/>
                </a:lnTo>
                <a:lnTo>
                  <a:pt x="46" y="27"/>
                </a:lnTo>
                <a:lnTo>
                  <a:pt x="51" y="32"/>
                </a:lnTo>
                <a:lnTo>
                  <a:pt x="51" y="35"/>
                </a:lnTo>
                <a:lnTo>
                  <a:pt x="49" y="35"/>
                </a:lnTo>
                <a:lnTo>
                  <a:pt x="43" y="34"/>
                </a:lnTo>
                <a:lnTo>
                  <a:pt x="37" y="38"/>
                </a:lnTo>
                <a:lnTo>
                  <a:pt x="35" y="45"/>
                </a:lnTo>
                <a:lnTo>
                  <a:pt x="30" y="45"/>
                </a:lnTo>
                <a:cubicBezTo>
                  <a:pt x="30" y="45"/>
                  <a:pt x="26" y="47"/>
                  <a:pt x="26" y="48"/>
                </a:cubicBez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 anchor="b"/>
          <a:lstStyle/>
          <a:p>
            <a:endParaRPr lang="ru-RU"/>
          </a:p>
        </p:txBody>
      </p:sp>
      <p:sp>
        <p:nvSpPr>
          <p:cNvPr id="65" name="Freeform 55"/>
          <p:cNvSpPr>
            <a:spLocks/>
          </p:cNvSpPr>
          <p:nvPr/>
        </p:nvSpPr>
        <p:spPr bwMode="auto">
          <a:xfrm>
            <a:off x="2288732" y="2378074"/>
            <a:ext cx="171450" cy="228600"/>
          </a:xfrm>
          <a:custGeom>
            <a:avLst/>
            <a:gdLst>
              <a:gd name="T0" fmla="*/ 0 w 18"/>
              <a:gd name="T1" fmla="*/ 0 h 24"/>
              <a:gd name="T2" fmla="*/ 2147483647 w 18"/>
              <a:gd name="T3" fmla="*/ 2147483647 h 24"/>
              <a:gd name="T4" fmla="*/ 2147483647 w 18"/>
              <a:gd name="T5" fmla="*/ 0 h 24"/>
              <a:gd name="T6" fmla="*/ 2147483647 w 18"/>
              <a:gd name="T7" fmla="*/ 2147483647 h 24"/>
              <a:gd name="T8" fmla="*/ 2147483647 w 18"/>
              <a:gd name="T9" fmla="*/ 2147483647 h 24"/>
              <a:gd name="T10" fmla="*/ 2147483647 w 18"/>
              <a:gd name="T11" fmla="*/ 2147483647 h 24"/>
              <a:gd name="T12" fmla="*/ 2147483647 w 18"/>
              <a:gd name="T13" fmla="*/ 2147483647 h 24"/>
              <a:gd name="T14" fmla="*/ 2147483647 w 18"/>
              <a:gd name="T15" fmla="*/ 2147483647 h 24"/>
              <a:gd name="T16" fmla="*/ 2147483647 w 18"/>
              <a:gd name="T17" fmla="*/ 2147483647 h 24"/>
              <a:gd name="T18" fmla="*/ 2147483647 w 18"/>
              <a:gd name="T19" fmla="*/ 2147483647 h 24"/>
              <a:gd name="T20" fmla="*/ 2147483647 w 18"/>
              <a:gd name="T21" fmla="*/ 2147483647 h 24"/>
              <a:gd name="T22" fmla="*/ 2147483647 w 18"/>
              <a:gd name="T23" fmla="*/ 2147483647 h 24"/>
              <a:gd name="T24" fmla="*/ 2147483647 w 18"/>
              <a:gd name="T25" fmla="*/ 2147483647 h 24"/>
              <a:gd name="T26" fmla="*/ 2147483647 w 18"/>
              <a:gd name="T27" fmla="*/ 2147483647 h 24"/>
              <a:gd name="T28" fmla="*/ 2147483647 w 18"/>
              <a:gd name="T29" fmla="*/ 2147483647 h 24"/>
              <a:gd name="T30" fmla="*/ 2147483647 w 18"/>
              <a:gd name="T31" fmla="*/ 2147483647 h 24"/>
              <a:gd name="T32" fmla="*/ 0 w 18"/>
              <a:gd name="T33" fmla="*/ 0 h 2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8"/>
              <a:gd name="T52" fmla="*/ 0 h 24"/>
              <a:gd name="T53" fmla="*/ 18 w 18"/>
              <a:gd name="T54" fmla="*/ 24 h 2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8" h="24">
                <a:moveTo>
                  <a:pt x="0" y="0"/>
                </a:moveTo>
                <a:lnTo>
                  <a:pt x="5" y="2"/>
                </a:lnTo>
                <a:lnTo>
                  <a:pt x="8" y="0"/>
                </a:lnTo>
                <a:lnTo>
                  <a:pt x="12" y="7"/>
                </a:lnTo>
                <a:lnTo>
                  <a:pt x="12" y="8"/>
                </a:lnTo>
                <a:lnTo>
                  <a:pt x="14" y="8"/>
                </a:lnTo>
                <a:lnTo>
                  <a:pt x="14" y="5"/>
                </a:lnTo>
                <a:lnTo>
                  <a:pt x="15" y="4"/>
                </a:lnTo>
                <a:lnTo>
                  <a:pt x="17" y="6"/>
                </a:lnTo>
                <a:lnTo>
                  <a:pt x="18" y="13"/>
                </a:lnTo>
                <a:lnTo>
                  <a:pt x="18" y="21"/>
                </a:lnTo>
                <a:lnTo>
                  <a:pt x="14" y="21"/>
                </a:lnTo>
                <a:lnTo>
                  <a:pt x="11" y="24"/>
                </a:lnTo>
                <a:lnTo>
                  <a:pt x="8" y="19"/>
                </a:lnTo>
                <a:lnTo>
                  <a:pt x="4" y="12"/>
                </a:lnTo>
                <a:lnTo>
                  <a:pt x="2" y="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66" name="Freeform 56"/>
          <p:cNvSpPr>
            <a:spLocks/>
          </p:cNvSpPr>
          <p:nvPr/>
        </p:nvSpPr>
        <p:spPr bwMode="auto">
          <a:xfrm>
            <a:off x="3288857" y="2178049"/>
            <a:ext cx="628650" cy="704850"/>
          </a:xfrm>
          <a:custGeom>
            <a:avLst/>
            <a:gdLst>
              <a:gd name="T0" fmla="*/ 2147483647 w 66"/>
              <a:gd name="T1" fmla="*/ 2147483647 h 74"/>
              <a:gd name="T2" fmla="*/ 2147483647 w 66"/>
              <a:gd name="T3" fmla="*/ 2147483647 h 74"/>
              <a:gd name="T4" fmla="*/ 2147483647 w 66"/>
              <a:gd name="T5" fmla="*/ 2147483647 h 74"/>
              <a:gd name="T6" fmla="*/ 2147483647 w 66"/>
              <a:gd name="T7" fmla="*/ 2147483647 h 74"/>
              <a:gd name="T8" fmla="*/ 2147483647 w 66"/>
              <a:gd name="T9" fmla="*/ 2147483647 h 74"/>
              <a:gd name="T10" fmla="*/ 2147483647 w 66"/>
              <a:gd name="T11" fmla="*/ 2147483647 h 74"/>
              <a:gd name="T12" fmla="*/ 2147483647 w 66"/>
              <a:gd name="T13" fmla="*/ 2147483647 h 74"/>
              <a:gd name="T14" fmla="*/ 2147483647 w 66"/>
              <a:gd name="T15" fmla="*/ 2147483647 h 74"/>
              <a:gd name="T16" fmla="*/ 2147483647 w 66"/>
              <a:gd name="T17" fmla="*/ 2147483647 h 74"/>
              <a:gd name="T18" fmla="*/ 2147483647 w 66"/>
              <a:gd name="T19" fmla="*/ 2147483647 h 74"/>
              <a:gd name="T20" fmla="*/ 2147483647 w 66"/>
              <a:gd name="T21" fmla="*/ 2147483647 h 74"/>
              <a:gd name="T22" fmla="*/ 2147483647 w 66"/>
              <a:gd name="T23" fmla="*/ 2147483647 h 74"/>
              <a:gd name="T24" fmla="*/ 2147483647 w 66"/>
              <a:gd name="T25" fmla="*/ 2147483647 h 74"/>
              <a:gd name="T26" fmla="*/ 2147483647 w 66"/>
              <a:gd name="T27" fmla="*/ 2147483647 h 74"/>
              <a:gd name="T28" fmla="*/ 2147483647 w 66"/>
              <a:gd name="T29" fmla="*/ 2147483647 h 74"/>
              <a:gd name="T30" fmla="*/ 2147483647 w 66"/>
              <a:gd name="T31" fmla="*/ 2147483647 h 74"/>
              <a:gd name="T32" fmla="*/ 2147483647 w 66"/>
              <a:gd name="T33" fmla="*/ 2147483647 h 74"/>
              <a:gd name="T34" fmla="*/ 2147483647 w 66"/>
              <a:gd name="T35" fmla="*/ 2147483647 h 74"/>
              <a:gd name="T36" fmla="*/ 2147483647 w 66"/>
              <a:gd name="T37" fmla="*/ 2147483647 h 74"/>
              <a:gd name="T38" fmla="*/ 2147483647 w 66"/>
              <a:gd name="T39" fmla="*/ 2147483647 h 74"/>
              <a:gd name="T40" fmla="*/ 2147483647 w 66"/>
              <a:gd name="T41" fmla="*/ 2147483647 h 74"/>
              <a:gd name="T42" fmla="*/ 2147483647 w 66"/>
              <a:gd name="T43" fmla="*/ 2147483647 h 74"/>
              <a:gd name="T44" fmla="*/ 2147483647 w 66"/>
              <a:gd name="T45" fmla="*/ 2147483647 h 74"/>
              <a:gd name="T46" fmla="*/ 2147483647 w 66"/>
              <a:gd name="T47" fmla="*/ 2147483647 h 74"/>
              <a:gd name="T48" fmla="*/ 2147483647 w 66"/>
              <a:gd name="T49" fmla="*/ 2147483647 h 74"/>
              <a:gd name="T50" fmla="*/ 2147483647 w 66"/>
              <a:gd name="T51" fmla="*/ 2147483647 h 74"/>
              <a:gd name="T52" fmla="*/ 2147483647 w 66"/>
              <a:gd name="T53" fmla="*/ 2147483647 h 74"/>
              <a:gd name="T54" fmla="*/ 2147483647 w 66"/>
              <a:gd name="T55" fmla="*/ 2147483647 h 74"/>
              <a:gd name="T56" fmla="*/ 2147483647 w 66"/>
              <a:gd name="T57" fmla="*/ 2147483647 h 74"/>
              <a:gd name="T58" fmla="*/ 2147483647 w 66"/>
              <a:gd name="T59" fmla="*/ 2147483647 h 74"/>
              <a:gd name="T60" fmla="*/ 2147483647 w 66"/>
              <a:gd name="T61" fmla="*/ 2147483647 h 74"/>
              <a:gd name="T62" fmla="*/ 2147483647 w 66"/>
              <a:gd name="T63" fmla="*/ 2147483647 h 74"/>
              <a:gd name="T64" fmla="*/ 2147483647 w 66"/>
              <a:gd name="T65" fmla="*/ 2147483647 h 74"/>
              <a:gd name="T66" fmla="*/ 2147483647 w 66"/>
              <a:gd name="T67" fmla="*/ 2147483647 h 74"/>
              <a:gd name="T68" fmla="*/ 2147483647 w 66"/>
              <a:gd name="T69" fmla="*/ 2147483647 h 74"/>
              <a:gd name="T70" fmla="*/ 2147483647 w 66"/>
              <a:gd name="T71" fmla="*/ 2147483647 h 74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66"/>
              <a:gd name="T109" fmla="*/ 0 h 74"/>
              <a:gd name="T110" fmla="*/ 66 w 66"/>
              <a:gd name="T111" fmla="*/ 74 h 74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66" h="74">
                <a:moveTo>
                  <a:pt x="0" y="34"/>
                </a:moveTo>
                <a:lnTo>
                  <a:pt x="2" y="41"/>
                </a:lnTo>
                <a:lnTo>
                  <a:pt x="7" y="40"/>
                </a:lnTo>
                <a:lnTo>
                  <a:pt x="10" y="41"/>
                </a:lnTo>
                <a:lnTo>
                  <a:pt x="10" y="45"/>
                </a:lnTo>
                <a:lnTo>
                  <a:pt x="9" y="50"/>
                </a:lnTo>
                <a:lnTo>
                  <a:pt x="9" y="54"/>
                </a:lnTo>
                <a:lnTo>
                  <a:pt x="5" y="59"/>
                </a:lnTo>
                <a:lnTo>
                  <a:pt x="6" y="61"/>
                </a:lnTo>
                <a:lnTo>
                  <a:pt x="9" y="61"/>
                </a:lnTo>
                <a:lnTo>
                  <a:pt x="10" y="59"/>
                </a:lnTo>
                <a:lnTo>
                  <a:pt x="12" y="59"/>
                </a:lnTo>
                <a:lnTo>
                  <a:pt x="15" y="59"/>
                </a:lnTo>
                <a:lnTo>
                  <a:pt x="18" y="61"/>
                </a:lnTo>
                <a:lnTo>
                  <a:pt x="23" y="66"/>
                </a:lnTo>
                <a:lnTo>
                  <a:pt x="23" y="59"/>
                </a:lnTo>
                <a:lnTo>
                  <a:pt x="26" y="56"/>
                </a:lnTo>
                <a:lnTo>
                  <a:pt x="29" y="54"/>
                </a:lnTo>
                <a:lnTo>
                  <a:pt x="31" y="49"/>
                </a:lnTo>
                <a:lnTo>
                  <a:pt x="35" y="52"/>
                </a:lnTo>
                <a:lnTo>
                  <a:pt x="35" y="55"/>
                </a:lnTo>
                <a:lnTo>
                  <a:pt x="35" y="58"/>
                </a:lnTo>
                <a:lnTo>
                  <a:pt x="31" y="59"/>
                </a:lnTo>
                <a:lnTo>
                  <a:pt x="29" y="62"/>
                </a:lnTo>
                <a:lnTo>
                  <a:pt x="28" y="65"/>
                </a:lnTo>
                <a:lnTo>
                  <a:pt x="26" y="69"/>
                </a:lnTo>
                <a:lnTo>
                  <a:pt x="30" y="69"/>
                </a:lnTo>
                <a:lnTo>
                  <a:pt x="31" y="72"/>
                </a:lnTo>
                <a:lnTo>
                  <a:pt x="33" y="74"/>
                </a:lnTo>
                <a:lnTo>
                  <a:pt x="38" y="72"/>
                </a:lnTo>
                <a:lnTo>
                  <a:pt x="38" y="67"/>
                </a:lnTo>
                <a:lnTo>
                  <a:pt x="42" y="65"/>
                </a:lnTo>
                <a:lnTo>
                  <a:pt x="42" y="62"/>
                </a:lnTo>
                <a:lnTo>
                  <a:pt x="40" y="59"/>
                </a:lnTo>
                <a:lnTo>
                  <a:pt x="40" y="56"/>
                </a:lnTo>
                <a:lnTo>
                  <a:pt x="44" y="53"/>
                </a:lnTo>
                <a:lnTo>
                  <a:pt x="46" y="49"/>
                </a:lnTo>
                <a:lnTo>
                  <a:pt x="48" y="50"/>
                </a:lnTo>
                <a:lnTo>
                  <a:pt x="52" y="50"/>
                </a:lnTo>
                <a:lnTo>
                  <a:pt x="53" y="44"/>
                </a:lnTo>
                <a:lnTo>
                  <a:pt x="52" y="40"/>
                </a:lnTo>
                <a:lnTo>
                  <a:pt x="52" y="37"/>
                </a:lnTo>
                <a:lnTo>
                  <a:pt x="56" y="36"/>
                </a:lnTo>
                <a:lnTo>
                  <a:pt x="57" y="33"/>
                </a:lnTo>
                <a:lnTo>
                  <a:pt x="58" y="30"/>
                </a:lnTo>
                <a:lnTo>
                  <a:pt x="63" y="30"/>
                </a:lnTo>
                <a:lnTo>
                  <a:pt x="66" y="28"/>
                </a:lnTo>
                <a:lnTo>
                  <a:pt x="66" y="22"/>
                </a:lnTo>
                <a:lnTo>
                  <a:pt x="66" y="18"/>
                </a:lnTo>
                <a:lnTo>
                  <a:pt x="66" y="16"/>
                </a:lnTo>
                <a:lnTo>
                  <a:pt x="64" y="13"/>
                </a:lnTo>
                <a:lnTo>
                  <a:pt x="60" y="13"/>
                </a:lnTo>
                <a:lnTo>
                  <a:pt x="60" y="11"/>
                </a:lnTo>
                <a:lnTo>
                  <a:pt x="62" y="9"/>
                </a:lnTo>
                <a:lnTo>
                  <a:pt x="59" y="5"/>
                </a:lnTo>
                <a:lnTo>
                  <a:pt x="57" y="2"/>
                </a:lnTo>
                <a:lnTo>
                  <a:pt x="55" y="0"/>
                </a:lnTo>
                <a:lnTo>
                  <a:pt x="52" y="6"/>
                </a:lnTo>
                <a:lnTo>
                  <a:pt x="50" y="9"/>
                </a:lnTo>
                <a:lnTo>
                  <a:pt x="46" y="9"/>
                </a:lnTo>
                <a:lnTo>
                  <a:pt x="43" y="11"/>
                </a:lnTo>
                <a:lnTo>
                  <a:pt x="40" y="11"/>
                </a:lnTo>
                <a:lnTo>
                  <a:pt x="38" y="12"/>
                </a:lnTo>
                <a:lnTo>
                  <a:pt x="38" y="16"/>
                </a:lnTo>
                <a:lnTo>
                  <a:pt x="35" y="16"/>
                </a:lnTo>
                <a:lnTo>
                  <a:pt x="33" y="19"/>
                </a:lnTo>
                <a:lnTo>
                  <a:pt x="35" y="22"/>
                </a:lnTo>
                <a:lnTo>
                  <a:pt x="27" y="22"/>
                </a:lnTo>
                <a:lnTo>
                  <a:pt x="26" y="28"/>
                </a:lnTo>
                <a:lnTo>
                  <a:pt x="25" y="34"/>
                </a:lnTo>
                <a:lnTo>
                  <a:pt x="21" y="36"/>
                </a:lnTo>
                <a:lnTo>
                  <a:pt x="10" y="35"/>
                </a:lnTo>
                <a:lnTo>
                  <a:pt x="0" y="34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67" name="Freeform 57"/>
          <p:cNvSpPr>
            <a:spLocks/>
          </p:cNvSpPr>
          <p:nvPr/>
        </p:nvSpPr>
        <p:spPr bwMode="auto">
          <a:xfrm>
            <a:off x="3812732" y="1997074"/>
            <a:ext cx="438150" cy="619125"/>
          </a:xfrm>
          <a:custGeom>
            <a:avLst/>
            <a:gdLst>
              <a:gd name="T0" fmla="*/ 2147483647 w 46"/>
              <a:gd name="T1" fmla="*/ 2147483647 h 65"/>
              <a:gd name="T2" fmla="*/ 2147483647 w 46"/>
              <a:gd name="T3" fmla="*/ 2147483647 h 65"/>
              <a:gd name="T4" fmla="*/ 2147483647 w 46"/>
              <a:gd name="T5" fmla="*/ 2147483647 h 65"/>
              <a:gd name="T6" fmla="*/ 2147483647 w 46"/>
              <a:gd name="T7" fmla="*/ 2147483647 h 65"/>
              <a:gd name="T8" fmla="*/ 2147483647 w 46"/>
              <a:gd name="T9" fmla="*/ 2147483647 h 65"/>
              <a:gd name="T10" fmla="*/ 2147483647 w 46"/>
              <a:gd name="T11" fmla="*/ 2147483647 h 65"/>
              <a:gd name="T12" fmla="*/ 2147483647 w 46"/>
              <a:gd name="T13" fmla="*/ 2147483647 h 65"/>
              <a:gd name="T14" fmla="*/ 0 w 46"/>
              <a:gd name="T15" fmla="*/ 2147483647 h 65"/>
              <a:gd name="T16" fmla="*/ 2147483647 w 46"/>
              <a:gd name="T17" fmla="*/ 2147483647 h 65"/>
              <a:gd name="T18" fmla="*/ 2147483647 w 46"/>
              <a:gd name="T19" fmla="*/ 2147483647 h 65"/>
              <a:gd name="T20" fmla="*/ 2147483647 w 46"/>
              <a:gd name="T21" fmla="*/ 2147483647 h 65"/>
              <a:gd name="T22" fmla="*/ 2147483647 w 46"/>
              <a:gd name="T23" fmla="*/ 2147483647 h 65"/>
              <a:gd name="T24" fmla="*/ 2147483647 w 46"/>
              <a:gd name="T25" fmla="*/ 2147483647 h 65"/>
              <a:gd name="T26" fmla="*/ 2147483647 w 46"/>
              <a:gd name="T27" fmla="*/ 2147483647 h 65"/>
              <a:gd name="T28" fmla="*/ 2147483647 w 46"/>
              <a:gd name="T29" fmla="*/ 2147483647 h 65"/>
              <a:gd name="T30" fmla="*/ 2147483647 w 46"/>
              <a:gd name="T31" fmla="*/ 0 h 65"/>
              <a:gd name="T32" fmla="*/ 2147483647 w 46"/>
              <a:gd name="T33" fmla="*/ 0 h 65"/>
              <a:gd name="T34" fmla="*/ 2147483647 w 46"/>
              <a:gd name="T35" fmla="*/ 2147483647 h 65"/>
              <a:gd name="T36" fmla="*/ 2147483647 w 46"/>
              <a:gd name="T37" fmla="*/ 2147483647 h 65"/>
              <a:gd name="T38" fmla="*/ 2147483647 w 46"/>
              <a:gd name="T39" fmla="*/ 2147483647 h 65"/>
              <a:gd name="T40" fmla="*/ 2147483647 w 46"/>
              <a:gd name="T41" fmla="*/ 2147483647 h 65"/>
              <a:gd name="T42" fmla="*/ 2147483647 w 46"/>
              <a:gd name="T43" fmla="*/ 2147483647 h 65"/>
              <a:gd name="T44" fmla="*/ 2147483647 w 46"/>
              <a:gd name="T45" fmla="*/ 2147483647 h 65"/>
              <a:gd name="T46" fmla="*/ 2147483647 w 46"/>
              <a:gd name="T47" fmla="*/ 2147483647 h 65"/>
              <a:gd name="T48" fmla="*/ 2147483647 w 46"/>
              <a:gd name="T49" fmla="*/ 2147483647 h 65"/>
              <a:gd name="T50" fmla="*/ 2147483647 w 46"/>
              <a:gd name="T51" fmla="*/ 2147483647 h 65"/>
              <a:gd name="T52" fmla="*/ 2147483647 w 46"/>
              <a:gd name="T53" fmla="*/ 2147483647 h 65"/>
              <a:gd name="T54" fmla="*/ 2147483647 w 46"/>
              <a:gd name="T55" fmla="*/ 2147483647 h 65"/>
              <a:gd name="T56" fmla="*/ 2147483647 w 46"/>
              <a:gd name="T57" fmla="*/ 2147483647 h 65"/>
              <a:gd name="T58" fmla="*/ 2147483647 w 46"/>
              <a:gd name="T59" fmla="*/ 2147483647 h 65"/>
              <a:gd name="T60" fmla="*/ 2147483647 w 46"/>
              <a:gd name="T61" fmla="*/ 2147483647 h 65"/>
              <a:gd name="T62" fmla="*/ 2147483647 w 46"/>
              <a:gd name="T63" fmla="*/ 2147483647 h 65"/>
              <a:gd name="T64" fmla="*/ 2147483647 w 46"/>
              <a:gd name="T65" fmla="*/ 2147483647 h 65"/>
              <a:gd name="T66" fmla="*/ 2147483647 w 46"/>
              <a:gd name="T67" fmla="*/ 2147483647 h 65"/>
              <a:gd name="T68" fmla="*/ 2147483647 w 46"/>
              <a:gd name="T69" fmla="*/ 2147483647 h 65"/>
              <a:gd name="T70" fmla="*/ 2147483647 w 46"/>
              <a:gd name="T71" fmla="*/ 2147483647 h 65"/>
              <a:gd name="T72" fmla="*/ 2147483647 w 46"/>
              <a:gd name="T73" fmla="*/ 2147483647 h 65"/>
              <a:gd name="T74" fmla="*/ 2147483647 w 46"/>
              <a:gd name="T75" fmla="*/ 2147483647 h 65"/>
              <a:gd name="T76" fmla="*/ 2147483647 w 46"/>
              <a:gd name="T77" fmla="*/ 2147483647 h 65"/>
              <a:gd name="T78" fmla="*/ 2147483647 w 46"/>
              <a:gd name="T79" fmla="*/ 2147483647 h 65"/>
              <a:gd name="T80" fmla="*/ 2147483647 w 46"/>
              <a:gd name="T81" fmla="*/ 2147483647 h 65"/>
              <a:gd name="T82" fmla="*/ 2147483647 w 46"/>
              <a:gd name="T83" fmla="*/ 2147483647 h 65"/>
              <a:gd name="T84" fmla="*/ 2147483647 w 46"/>
              <a:gd name="T85" fmla="*/ 2147483647 h 65"/>
              <a:gd name="T86" fmla="*/ 2147483647 w 46"/>
              <a:gd name="T87" fmla="*/ 2147483647 h 65"/>
              <a:gd name="T88" fmla="*/ 2147483647 w 46"/>
              <a:gd name="T89" fmla="*/ 2147483647 h 65"/>
              <a:gd name="T90" fmla="*/ 2147483647 w 46"/>
              <a:gd name="T91" fmla="*/ 2147483647 h 65"/>
              <a:gd name="T92" fmla="*/ 2147483647 w 46"/>
              <a:gd name="T93" fmla="*/ 2147483647 h 65"/>
              <a:gd name="T94" fmla="*/ 2147483647 w 46"/>
              <a:gd name="T95" fmla="*/ 2147483647 h 65"/>
              <a:gd name="T96" fmla="*/ 2147483647 w 46"/>
              <a:gd name="T97" fmla="*/ 2147483647 h 65"/>
              <a:gd name="T98" fmla="*/ 2147483647 w 46"/>
              <a:gd name="T99" fmla="*/ 2147483647 h 65"/>
              <a:gd name="T100" fmla="*/ 2147483647 w 46"/>
              <a:gd name="T101" fmla="*/ 2147483647 h 6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46"/>
              <a:gd name="T154" fmla="*/ 0 h 65"/>
              <a:gd name="T155" fmla="*/ 46 w 46"/>
              <a:gd name="T156" fmla="*/ 65 h 65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46" h="65">
                <a:moveTo>
                  <a:pt x="11" y="35"/>
                </a:moveTo>
                <a:lnTo>
                  <a:pt x="9" y="32"/>
                </a:lnTo>
                <a:lnTo>
                  <a:pt x="5" y="32"/>
                </a:lnTo>
                <a:lnTo>
                  <a:pt x="5" y="30"/>
                </a:lnTo>
                <a:lnTo>
                  <a:pt x="7" y="28"/>
                </a:lnTo>
                <a:lnTo>
                  <a:pt x="4" y="24"/>
                </a:lnTo>
                <a:lnTo>
                  <a:pt x="2" y="21"/>
                </a:lnTo>
                <a:lnTo>
                  <a:pt x="0" y="19"/>
                </a:lnTo>
                <a:lnTo>
                  <a:pt x="3" y="16"/>
                </a:lnTo>
                <a:lnTo>
                  <a:pt x="11" y="16"/>
                </a:lnTo>
                <a:lnTo>
                  <a:pt x="13" y="12"/>
                </a:lnTo>
                <a:lnTo>
                  <a:pt x="15" y="9"/>
                </a:lnTo>
                <a:lnTo>
                  <a:pt x="14" y="5"/>
                </a:lnTo>
                <a:lnTo>
                  <a:pt x="18" y="2"/>
                </a:lnTo>
                <a:lnTo>
                  <a:pt x="21" y="2"/>
                </a:lnTo>
                <a:lnTo>
                  <a:pt x="22" y="0"/>
                </a:lnTo>
                <a:lnTo>
                  <a:pt x="26" y="0"/>
                </a:lnTo>
                <a:lnTo>
                  <a:pt x="33" y="1"/>
                </a:lnTo>
                <a:lnTo>
                  <a:pt x="35" y="4"/>
                </a:lnTo>
                <a:lnTo>
                  <a:pt x="38" y="4"/>
                </a:lnTo>
                <a:lnTo>
                  <a:pt x="39" y="5"/>
                </a:lnTo>
                <a:lnTo>
                  <a:pt x="41" y="5"/>
                </a:lnTo>
                <a:lnTo>
                  <a:pt x="43" y="8"/>
                </a:lnTo>
                <a:lnTo>
                  <a:pt x="45" y="11"/>
                </a:lnTo>
                <a:lnTo>
                  <a:pt x="43" y="14"/>
                </a:lnTo>
                <a:lnTo>
                  <a:pt x="41" y="12"/>
                </a:lnTo>
                <a:lnTo>
                  <a:pt x="39" y="9"/>
                </a:lnTo>
                <a:lnTo>
                  <a:pt x="37" y="9"/>
                </a:lnTo>
                <a:lnTo>
                  <a:pt x="39" y="14"/>
                </a:lnTo>
                <a:lnTo>
                  <a:pt x="45" y="23"/>
                </a:lnTo>
                <a:lnTo>
                  <a:pt x="46" y="30"/>
                </a:lnTo>
                <a:lnTo>
                  <a:pt x="45" y="38"/>
                </a:lnTo>
                <a:lnTo>
                  <a:pt x="44" y="41"/>
                </a:lnTo>
                <a:lnTo>
                  <a:pt x="46" y="48"/>
                </a:lnTo>
                <a:lnTo>
                  <a:pt x="45" y="55"/>
                </a:lnTo>
                <a:lnTo>
                  <a:pt x="44" y="61"/>
                </a:lnTo>
                <a:lnTo>
                  <a:pt x="40" y="64"/>
                </a:lnTo>
                <a:lnTo>
                  <a:pt x="32" y="65"/>
                </a:lnTo>
                <a:lnTo>
                  <a:pt x="26" y="64"/>
                </a:lnTo>
                <a:lnTo>
                  <a:pt x="22" y="60"/>
                </a:lnTo>
                <a:lnTo>
                  <a:pt x="20" y="57"/>
                </a:lnTo>
                <a:lnTo>
                  <a:pt x="20" y="52"/>
                </a:lnTo>
                <a:lnTo>
                  <a:pt x="15" y="47"/>
                </a:lnTo>
                <a:lnTo>
                  <a:pt x="15" y="41"/>
                </a:lnTo>
                <a:lnTo>
                  <a:pt x="15" y="37"/>
                </a:lnTo>
                <a:lnTo>
                  <a:pt x="13" y="35"/>
                </a:lnTo>
                <a:lnTo>
                  <a:pt x="14" y="31"/>
                </a:lnTo>
                <a:lnTo>
                  <a:pt x="15" y="30"/>
                </a:lnTo>
                <a:lnTo>
                  <a:pt x="14" y="26"/>
                </a:lnTo>
                <a:lnTo>
                  <a:pt x="11" y="29"/>
                </a:lnTo>
                <a:lnTo>
                  <a:pt x="11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68" name="Freeform 58"/>
          <p:cNvSpPr>
            <a:spLocks/>
          </p:cNvSpPr>
          <p:nvPr/>
        </p:nvSpPr>
        <p:spPr bwMode="auto">
          <a:xfrm>
            <a:off x="3841307" y="2511424"/>
            <a:ext cx="38100" cy="47625"/>
          </a:xfrm>
          <a:custGeom>
            <a:avLst/>
            <a:gdLst>
              <a:gd name="T0" fmla="*/ 2147483647 w 4"/>
              <a:gd name="T1" fmla="*/ 0 h 5"/>
              <a:gd name="T2" fmla="*/ 0 w 4"/>
              <a:gd name="T3" fmla="*/ 2147483647 h 5"/>
              <a:gd name="T4" fmla="*/ 0 w 4"/>
              <a:gd name="T5" fmla="*/ 2147483647 h 5"/>
              <a:gd name="T6" fmla="*/ 2147483647 w 4"/>
              <a:gd name="T7" fmla="*/ 2147483647 h 5"/>
              <a:gd name="T8" fmla="*/ 2147483647 w 4"/>
              <a:gd name="T9" fmla="*/ 2147483647 h 5"/>
              <a:gd name="T10" fmla="*/ 2147483647 w 4"/>
              <a:gd name="T11" fmla="*/ 0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"/>
              <a:gd name="T19" fmla="*/ 0 h 5"/>
              <a:gd name="T20" fmla="*/ 4 w 4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" h="5">
                <a:moveTo>
                  <a:pt x="2" y="0"/>
                </a:moveTo>
                <a:lnTo>
                  <a:pt x="0" y="2"/>
                </a:lnTo>
                <a:lnTo>
                  <a:pt x="0" y="5"/>
                </a:lnTo>
                <a:lnTo>
                  <a:pt x="3" y="5"/>
                </a:lnTo>
                <a:lnTo>
                  <a:pt x="4" y="2"/>
                </a:lnTo>
                <a:lnTo>
                  <a:pt x="2" y="0"/>
                </a:lnTo>
                <a:close/>
              </a:path>
            </a:pathLst>
          </a:custGeom>
          <a:gradFill rotWithShape="1">
            <a:gsLst>
              <a:gs pos="0">
                <a:srgbClr val="A1B47B"/>
              </a:gs>
              <a:gs pos="100000">
                <a:srgbClr val="7C9747"/>
              </a:gs>
            </a:gsLst>
            <a:lin ang="18900000" scaled="1"/>
          </a:gra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69" name="Freeform 59"/>
          <p:cNvSpPr>
            <a:spLocks/>
          </p:cNvSpPr>
          <p:nvPr/>
        </p:nvSpPr>
        <p:spPr bwMode="auto">
          <a:xfrm>
            <a:off x="3250757" y="2825749"/>
            <a:ext cx="647700" cy="581025"/>
          </a:xfrm>
          <a:custGeom>
            <a:avLst/>
            <a:gdLst>
              <a:gd name="T0" fmla="*/ 2147483647 w 68"/>
              <a:gd name="T1" fmla="*/ 2147483647 h 61"/>
              <a:gd name="T2" fmla="*/ 2147483647 w 68"/>
              <a:gd name="T3" fmla="*/ 2147483647 h 61"/>
              <a:gd name="T4" fmla="*/ 2147483647 w 68"/>
              <a:gd name="T5" fmla="*/ 2147483647 h 61"/>
              <a:gd name="T6" fmla="*/ 2147483647 w 68"/>
              <a:gd name="T7" fmla="*/ 2147483647 h 61"/>
              <a:gd name="T8" fmla="*/ 2147483647 w 68"/>
              <a:gd name="T9" fmla="*/ 2147483647 h 61"/>
              <a:gd name="T10" fmla="*/ 2147483647 w 68"/>
              <a:gd name="T11" fmla="*/ 2147483647 h 61"/>
              <a:gd name="T12" fmla="*/ 2147483647 w 68"/>
              <a:gd name="T13" fmla="*/ 2147483647 h 61"/>
              <a:gd name="T14" fmla="*/ 2147483647 w 68"/>
              <a:gd name="T15" fmla="*/ 2147483647 h 61"/>
              <a:gd name="T16" fmla="*/ 2147483647 w 68"/>
              <a:gd name="T17" fmla="*/ 2147483647 h 61"/>
              <a:gd name="T18" fmla="*/ 2147483647 w 68"/>
              <a:gd name="T19" fmla="*/ 2147483647 h 61"/>
              <a:gd name="T20" fmla="*/ 2147483647 w 68"/>
              <a:gd name="T21" fmla="*/ 2147483647 h 61"/>
              <a:gd name="T22" fmla="*/ 2147483647 w 68"/>
              <a:gd name="T23" fmla="*/ 2147483647 h 61"/>
              <a:gd name="T24" fmla="*/ 2147483647 w 68"/>
              <a:gd name="T25" fmla="*/ 2147483647 h 61"/>
              <a:gd name="T26" fmla="*/ 2147483647 w 68"/>
              <a:gd name="T27" fmla="*/ 2147483647 h 61"/>
              <a:gd name="T28" fmla="*/ 2147483647 w 68"/>
              <a:gd name="T29" fmla="*/ 2147483647 h 61"/>
              <a:gd name="T30" fmla="*/ 2147483647 w 68"/>
              <a:gd name="T31" fmla="*/ 2147483647 h 61"/>
              <a:gd name="T32" fmla="*/ 2147483647 w 68"/>
              <a:gd name="T33" fmla="*/ 2147483647 h 61"/>
              <a:gd name="T34" fmla="*/ 2147483647 w 68"/>
              <a:gd name="T35" fmla="*/ 2147483647 h 61"/>
              <a:gd name="T36" fmla="*/ 2147483647 w 68"/>
              <a:gd name="T37" fmla="*/ 2147483647 h 61"/>
              <a:gd name="T38" fmla="*/ 2147483647 w 68"/>
              <a:gd name="T39" fmla="*/ 2147483647 h 61"/>
              <a:gd name="T40" fmla="*/ 0 w 68"/>
              <a:gd name="T41" fmla="*/ 2147483647 h 61"/>
              <a:gd name="T42" fmla="*/ 2147483647 w 68"/>
              <a:gd name="T43" fmla="*/ 2147483647 h 61"/>
              <a:gd name="T44" fmla="*/ 2147483647 w 68"/>
              <a:gd name="T45" fmla="*/ 2147483647 h 61"/>
              <a:gd name="T46" fmla="*/ 2147483647 w 68"/>
              <a:gd name="T47" fmla="*/ 2147483647 h 61"/>
              <a:gd name="T48" fmla="*/ 2147483647 w 68"/>
              <a:gd name="T49" fmla="*/ 2147483647 h 61"/>
              <a:gd name="T50" fmla="*/ 2147483647 w 68"/>
              <a:gd name="T51" fmla="*/ 2147483647 h 61"/>
              <a:gd name="T52" fmla="*/ 2147483647 w 68"/>
              <a:gd name="T53" fmla="*/ 2147483647 h 61"/>
              <a:gd name="T54" fmla="*/ 2147483647 w 68"/>
              <a:gd name="T55" fmla="*/ 2147483647 h 61"/>
              <a:gd name="T56" fmla="*/ 2147483647 w 68"/>
              <a:gd name="T57" fmla="*/ 2147483647 h 61"/>
              <a:gd name="T58" fmla="*/ 2147483647 w 68"/>
              <a:gd name="T59" fmla="*/ 2147483647 h 61"/>
              <a:gd name="T60" fmla="*/ 2147483647 w 68"/>
              <a:gd name="T61" fmla="*/ 2147483647 h 61"/>
              <a:gd name="T62" fmla="*/ 2147483647 w 68"/>
              <a:gd name="T63" fmla="*/ 2147483647 h 61"/>
              <a:gd name="T64" fmla="*/ 2147483647 w 68"/>
              <a:gd name="T65" fmla="*/ 2147483647 h 61"/>
              <a:gd name="T66" fmla="*/ 2147483647 w 68"/>
              <a:gd name="T67" fmla="*/ 2147483647 h 61"/>
              <a:gd name="T68" fmla="*/ 2147483647 w 68"/>
              <a:gd name="T69" fmla="*/ 2147483647 h 61"/>
              <a:gd name="T70" fmla="*/ 2147483647 w 68"/>
              <a:gd name="T71" fmla="*/ 2147483647 h 61"/>
              <a:gd name="T72" fmla="*/ 2147483647 w 68"/>
              <a:gd name="T73" fmla="*/ 2147483647 h 61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68"/>
              <a:gd name="T112" fmla="*/ 0 h 61"/>
              <a:gd name="T113" fmla="*/ 68 w 68"/>
              <a:gd name="T114" fmla="*/ 61 h 61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68" h="61">
                <a:moveTo>
                  <a:pt x="68" y="50"/>
                </a:moveTo>
                <a:lnTo>
                  <a:pt x="66" y="52"/>
                </a:lnTo>
                <a:lnTo>
                  <a:pt x="64" y="54"/>
                </a:lnTo>
                <a:lnTo>
                  <a:pt x="59" y="54"/>
                </a:lnTo>
                <a:lnTo>
                  <a:pt x="59" y="55"/>
                </a:lnTo>
                <a:lnTo>
                  <a:pt x="60" y="57"/>
                </a:lnTo>
                <a:lnTo>
                  <a:pt x="62" y="58"/>
                </a:lnTo>
                <a:lnTo>
                  <a:pt x="61" y="60"/>
                </a:lnTo>
                <a:lnTo>
                  <a:pt x="59" y="61"/>
                </a:lnTo>
                <a:lnTo>
                  <a:pt x="58" y="61"/>
                </a:lnTo>
                <a:lnTo>
                  <a:pt x="54" y="61"/>
                </a:lnTo>
                <a:lnTo>
                  <a:pt x="51" y="60"/>
                </a:lnTo>
                <a:lnTo>
                  <a:pt x="48" y="60"/>
                </a:lnTo>
                <a:lnTo>
                  <a:pt x="47" y="59"/>
                </a:lnTo>
                <a:lnTo>
                  <a:pt x="45" y="57"/>
                </a:lnTo>
                <a:lnTo>
                  <a:pt x="42" y="55"/>
                </a:lnTo>
                <a:lnTo>
                  <a:pt x="40" y="52"/>
                </a:lnTo>
                <a:lnTo>
                  <a:pt x="38" y="49"/>
                </a:lnTo>
                <a:lnTo>
                  <a:pt x="37" y="47"/>
                </a:lnTo>
                <a:lnTo>
                  <a:pt x="34" y="48"/>
                </a:lnTo>
                <a:lnTo>
                  <a:pt x="33" y="46"/>
                </a:lnTo>
                <a:lnTo>
                  <a:pt x="31" y="46"/>
                </a:lnTo>
                <a:lnTo>
                  <a:pt x="29" y="45"/>
                </a:lnTo>
                <a:lnTo>
                  <a:pt x="24" y="45"/>
                </a:lnTo>
                <a:lnTo>
                  <a:pt x="21" y="45"/>
                </a:lnTo>
                <a:lnTo>
                  <a:pt x="20" y="43"/>
                </a:lnTo>
                <a:lnTo>
                  <a:pt x="19" y="42"/>
                </a:lnTo>
                <a:lnTo>
                  <a:pt x="19" y="40"/>
                </a:lnTo>
                <a:lnTo>
                  <a:pt x="20" y="38"/>
                </a:lnTo>
                <a:lnTo>
                  <a:pt x="19" y="35"/>
                </a:lnTo>
                <a:lnTo>
                  <a:pt x="19" y="34"/>
                </a:lnTo>
                <a:cubicBezTo>
                  <a:pt x="19" y="34"/>
                  <a:pt x="17" y="33"/>
                  <a:pt x="17" y="33"/>
                </a:cubicBezTo>
                <a:cubicBezTo>
                  <a:pt x="16" y="33"/>
                  <a:pt x="14" y="33"/>
                  <a:pt x="14" y="33"/>
                </a:cubicBezTo>
                <a:lnTo>
                  <a:pt x="13" y="31"/>
                </a:lnTo>
                <a:lnTo>
                  <a:pt x="12" y="29"/>
                </a:lnTo>
                <a:lnTo>
                  <a:pt x="8" y="28"/>
                </a:lnTo>
                <a:lnTo>
                  <a:pt x="8" y="23"/>
                </a:lnTo>
                <a:lnTo>
                  <a:pt x="3" y="23"/>
                </a:lnTo>
                <a:lnTo>
                  <a:pt x="2" y="22"/>
                </a:lnTo>
                <a:lnTo>
                  <a:pt x="3" y="20"/>
                </a:lnTo>
                <a:lnTo>
                  <a:pt x="2" y="17"/>
                </a:lnTo>
                <a:lnTo>
                  <a:pt x="0" y="15"/>
                </a:lnTo>
                <a:lnTo>
                  <a:pt x="2" y="14"/>
                </a:lnTo>
                <a:cubicBezTo>
                  <a:pt x="2" y="13"/>
                  <a:pt x="6" y="11"/>
                  <a:pt x="6" y="11"/>
                </a:cubicBezTo>
                <a:lnTo>
                  <a:pt x="11" y="11"/>
                </a:lnTo>
                <a:lnTo>
                  <a:pt x="13" y="4"/>
                </a:lnTo>
                <a:lnTo>
                  <a:pt x="19" y="0"/>
                </a:lnTo>
                <a:lnTo>
                  <a:pt x="25" y="1"/>
                </a:lnTo>
                <a:lnTo>
                  <a:pt x="27" y="1"/>
                </a:lnTo>
                <a:lnTo>
                  <a:pt x="29" y="2"/>
                </a:lnTo>
                <a:lnTo>
                  <a:pt x="31" y="1"/>
                </a:lnTo>
                <a:lnTo>
                  <a:pt x="34" y="1"/>
                </a:lnTo>
                <a:lnTo>
                  <a:pt x="35" y="4"/>
                </a:lnTo>
                <a:lnTo>
                  <a:pt x="37" y="6"/>
                </a:lnTo>
                <a:lnTo>
                  <a:pt x="34" y="10"/>
                </a:lnTo>
                <a:lnTo>
                  <a:pt x="33" y="13"/>
                </a:lnTo>
                <a:lnTo>
                  <a:pt x="33" y="17"/>
                </a:lnTo>
                <a:lnTo>
                  <a:pt x="35" y="17"/>
                </a:lnTo>
                <a:lnTo>
                  <a:pt x="36" y="21"/>
                </a:lnTo>
                <a:lnTo>
                  <a:pt x="40" y="23"/>
                </a:lnTo>
                <a:lnTo>
                  <a:pt x="42" y="27"/>
                </a:lnTo>
                <a:lnTo>
                  <a:pt x="44" y="29"/>
                </a:lnTo>
                <a:lnTo>
                  <a:pt x="48" y="31"/>
                </a:lnTo>
                <a:lnTo>
                  <a:pt x="52" y="34"/>
                </a:lnTo>
                <a:lnTo>
                  <a:pt x="53" y="37"/>
                </a:lnTo>
                <a:lnTo>
                  <a:pt x="56" y="37"/>
                </a:lnTo>
                <a:lnTo>
                  <a:pt x="59" y="36"/>
                </a:lnTo>
                <a:lnTo>
                  <a:pt x="60" y="40"/>
                </a:lnTo>
                <a:lnTo>
                  <a:pt x="60" y="43"/>
                </a:lnTo>
                <a:lnTo>
                  <a:pt x="63" y="41"/>
                </a:lnTo>
                <a:lnTo>
                  <a:pt x="65" y="42"/>
                </a:lnTo>
                <a:lnTo>
                  <a:pt x="65" y="45"/>
                </a:lnTo>
                <a:lnTo>
                  <a:pt x="68" y="46"/>
                </a:lnTo>
                <a:lnTo>
                  <a:pt x="68" y="50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 anchor="b"/>
          <a:lstStyle/>
          <a:p>
            <a:endParaRPr lang="ru-RU"/>
          </a:p>
        </p:txBody>
      </p:sp>
      <p:sp>
        <p:nvSpPr>
          <p:cNvPr id="70" name="Freeform 60"/>
          <p:cNvSpPr>
            <a:spLocks/>
          </p:cNvSpPr>
          <p:nvPr/>
        </p:nvSpPr>
        <p:spPr bwMode="auto">
          <a:xfrm>
            <a:off x="3565082" y="2568574"/>
            <a:ext cx="828675" cy="809625"/>
          </a:xfrm>
          <a:custGeom>
            <a:avLst/>
            <a:gdLst>
              <a:gd name="T0" fmla="*/ 2147483647 w 87"/>
              <a:gd name="T1" fmla="*/ 2147483647 h 85"/>
              <a:gd name="T2" fmla="*/ 2147483647 w 87"/>
              <a:gd name="T3" fmla="*/ 2147483647 h 85"/>
              <a:gd name="T4" fmla="*/ 2147483647 w 87"/>
              <a:gd name="T5" fmla="*/ 2147483647 h 85"/>
              <a:gd name="T6" fmla="*/ 2147483647 w 87"/>
              <a:gd name="T7" fmla="*/ 2147483647 h 85"/>
              <a:gd name="T8" fmla="*/ 2147483647 w 87"/>
              <a:gd name="T9" fmla="*/ 2147483647 h 85"/>
              <a:gd name="T10" fmla="*/ 2147483647 w 87"/>
              <a:gd name="T11" fmla="*/ 2147483647 h 85"/>
              <a:gd name="T12" fmla="*/ 2147483647 w 87"/>
              <a:gd name="T13" fmla="*/ 2147483647 h 85"/>
              <a:gd name="T14" fmla="*/ 2147483647 w 87"/>
              <a:gd name="T15" fmla="*/ 2147483647 h 85"/>
              <a:gd name="T16" fmla="*/ 0 w 87"/>
              <a:gd name="T17" fmla="*/ 2147483647 h 85"/>
              <a:gd name="T18" fmla="*/ 2147483647 w 87"/>
              <a:gd name="T19" fmla="*/ 2147483647 h 85"/>
              <a:gd name="T20" fmla="*/ 2147483647 w 87"/>
              <a:gd name="T21" fmla="*/ 2147483647 h 85"/>
              <a:gd name="T22" fmla="*/ 2147483647 w 87"/>
              <a:gd name="T23" fmla="*/ 2147483647 h 85"/>
              <a:gd name="T24" fmla="*/ 2147483647 w 87"/>
              <a:gd name="T25" fmla="*/ 2147483647 h 85"/>
              <a:gd name="T26" fmla="*/ 2147483647 w 87"/>
              <a:gd name="T27" fmla="*/ 2147483647 h 85"/>
              <a:gd name="T28" fmla="*/ 2147483647 w 87"/>
              <a:gd name="T29" fmla="*/ 2147483647 h 85"/>
              <a:gd name="T30" fmla="*/ 2147483647 w 87"/>
              <a:gd name="T31" fmla="*/ 2147483647 h 85"/>
              <a:gd name="T32" fmla="*/ 2147483647 w 87"/>
              <a:gd name="T33" fmla="*/ 2147483647 h 85"/>
              <a:gd name="T34" fmla="*/ 2147483647 w 87"/>
              <a:gd name="T35" fmla="*/ 2147483647 h 85"/>
              <a:gd name="T36" fmla="*/ 2147483647 w 87"/>
              <a:gd name="T37" fmla="*/ 2147483647 h 85"/>
              <a:gd name="T38" fmla="*/ 2147483647 w 87"/>
              <a:gd name="T39" fmla="*/ 2147483647 h 85"/>
              <a:gd name="T40" fmla="*/ 2147483647 w 87"/>
              <a:gd name="T41" fmla="*/ 2147483647 h 85"/>
              <a:gd name="T42" fmla="*/ 2147483647 w 87"/>
              <a:gd name="T43" fmla="*/ 2147483647 h 85"/>
              <a:gd name="T44" fmla="*/ 2147483647 w 87"/>
              <a:gd name="T45" fmla="*/ 2147483647 h 85"/>
              <a:gd name="T46" fmla="*/ 2147483647 w 87"/>
              <a:gd name="T47" fmla="*/ 2147483647 h 85"/>
              <a:gd name="T48" fmla="*/ 2147483647 w 87"/>
              <a:gd name="T49" fmla="*/ 2147483647 h 85"/>
              <a:gd name="T50" fmla="*/ 2147483647 w 87"/>
              <a:gd name="T51" fmla="*/ 2147483647 h 85"/>
              <a:gd name="T52" fmla="*/ 2147483647 w 87"/>
              <a:gd name="T53" fmla="*/ 2147483647 h 85"/>
              <a:gd name="T54" fmla="*/ 2147483647 w 87"/>
              <a:gd name="T55" fmla="*/ 2147483647 h 85"/>
              <a:gd name="T56" fmla="*/ 2147483647 w 87"/>
              <a:gd name="T57" fmla="*/ 2147483647 h 85"/>
              <a:gd name="T58" fmla="*/ 2147483647 w 87"/>
              <a:gd name="T59" fmla="*/ 2147483647 h 85"/>
              <a:gd name="T60" fmla="*/ 2147483647 w 87"/>
              <a:gd name="T61" fmla="*/ 2147483647 h 85"/>
              <a:gd name="T62" fmla="*/ 2147483647 w 87"/>
              <a:gd name="T63" fmla="*/ 2147483647 h 85"/>
              <a:gd name="T64" fmla="*/ 2147483647 w 87"/>
              <a:gd name="T65" fmla="*/ 2147483647 h 85"/>
              <a:gd name="T66" fmla="*/ 2147483647 w 87"/>
              <a:gd name="T67" fmla="*/ 2147483647 h 85"/>
              <a:gd name="T68" fmla="*/ 2147483647 w 87"/>
              <a:gd name="T69" fmla="*/ 2147483647 h 85"/>
              <a:gd name="T70" fmla="*/ 2147483647 w 87"/>
              <a:gd name="T71" fmla="*/ 2147483647 h 85"/>
              <a:gd name="T72" fmla="*/ 2147483647 w 87"/>
              <a:gd name="T73" fmla="*/ 2147483647 h 85"/>
              <a:gd name="T74" fmla="*/ 2147483647 w 87"/>
              <a:gd name="T75" fmla="*/ 2147483647 h 85"/>
              <a:gd name="T76" fmla="*/ 2147483647 w 87"/>
              <a:gd name="T77" fmla="*/ 2147483647 h 85"/>
              <a:gd name="T78" fmla="*/ 2147483647 w 87"/>
              <a:gd name="T79" fmla="*/ 2147483647 h 85"/>
              <a:gd name="T80" fmla="*/ 2147483647 w 87"/>
              <a:gd name="T81" fmla="*/ 2147483647 h 85"/>
              <a:gd name="T82" fmla="*/ 2147483647 w 87"/>
              <a:gd name="T83" fmla="*/ 2147483647 h 85"/>
              <a:gd name="T84" fmla="*/ 2147483647 w 87"/>
              <a:gd name="T85" fmla="*/ 2147483647 h 85"/>
              <a:gd name="T86" fmla="*/ 2147483647 w 87"/>
              <a:gd name="T87" fmla="*/ 2147483647 h 8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87"/>
              <a:gd name="T133" fmla="*/ 0 h 85"/>
              <a:gd name="T134" fmla="*/ 87 w 87"/>
              <a:gd name="T135" fmla="*/ 85 h 85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87" h="85">
                <a:moveTo>
                  <a:pt x="35" y="77"/>
                </a:moveTo>
                <a:lnTo>
                  <a:pt x="35" y="73"/>
                </a:lnTo>
                <a:lnTo>
                  <a:pt x="32" y="72"/>
                </a:lnTo>
                <a:lnTo>
                  <a:pt x="32" y="69"/>
                </a:lnTo>
                <a:lnTo>
                  <a:pt x="30" y="68"/>
                </a:lnTo>
                <a:lnTo>
                  <a:pt x="27" y="70"/>
                </a:lnTo>
                <a:lnTo>
                  <a:pt x="27" y="67"/>
                </a:lnTo>
                <a:lnTo>
                  <a:pt x="26" y="63"/>
                </a:lnTo>
                <a:lnTo>
                  <a:pt x="23" y="64"/>
                </a:lnTo>
                <a:lnTo>
                  <a:pt x="20" y="64"/>
                </a:lnTo>
                <a:lnTo>
                  <a:pt x="19" y="61"/>
                </a:lnTo>
                <a:lnTo>
                  <a:pt x="15" y="58"/>
                </a:lnTo>
                <a:lnTo>
                  <a:pt x="11" y="56"/>
                </a:lnTo>
                <a:lnTo>
                  <a:pt x="9" y="54"/>
                </a:lnTo>
                <a:lnTo>
                  <a:pt x="7" y="50"/>
                </a:lnTo>
                <a:lnTo>
                  <a:pt x="3" y="48"/>
                </a:lnTo>
                <a:lnTo>
                  <a:pt x="2" y="44"/>
                </a:lnTo>
                <a:lnTo>
                  <a:pt x="0" y="44"/>
                </a:lnTo>
                <a:lnTo>
                  <a:pt x="0" y="40"/>
                </a:lnTo>
                <a:lnTo>
                  <a:pt x="1" y="37"/>
                </a:lnTo>
                <a:lnTo>
                  <a:pt x="4" y="33"/>
                </a:lnTo>
                <a:lnTo>
                  <a:pt x="9" y="31"/>
                </a:lnTo>
                <a:lnTo>
                  <a:pt x="9" y="26"/>
                </a:lnTo>
                <a:lnTo>
                  <a:pt x="13" y="24"/>
                </a:lnTo>
                <a:lnTo>
                  <a:pt x="13" y="21"/>
                </a:lnTo>
                <a:lnTo>
                  <a:pt x="11" y="18"/>
                </a:lnTo>
                <a:lnTo>
                  <a:pt x="11" y="15"/>
                </a:lnTo>
                <a:lnTo>
                  <a:pt x="15" y="12"/>
                </a:lnTo>
                <a:lnTo>
                  <a:pt x="17" y="8"/>
                </a:lnTo>
                <a:lnTo>
                  <a:pt x="19" y="9"/>
                </a:lnTo>
                <a:lnTo>
                  <a:pt x="23" y="9"/>
                </a:lnTo>
                <a:lnTo>
                  <a:pt x="24" y="12"/>
                </a:lnTo>
                <a:lnTo>
                  <a:pt x="27" y="14"/>
                </a:lnTo>
                <a:lnTo>
                  <a:pt x="30" y="13"/>
                </a:lnTo>
                <a:lnTo>
                  <a:pt x="31" y="11"/>
                </a:lnTo>
                <a:lnTo>
                  <a:pt x="29" y="9"/>
                </a:lnTo>
                <a:lnTo>
                  <a:pt x="29" y="4"/>
                </a:lnTo>
                <a:lnTo>
                  <a:pt x="30" y="1"/>
                </a:lnTo>
                <a:lnTo>
                  <a:pt x="36" y="0"/>
                </a:lnTo>
                <a:lnTo>
                  <a:pt x="36" y="9"/>
                </a:lnTo>
                <a:lnTo>
                  <a:pt x="42" y="18"/>
                </a:lnTo>
                <a:lnTo>
                  <a:pt x="44" y="18"/>
                </a:lnTo>
                <a:lnTo>
                  <a:pt x="45" y="13"/>
                </a:lnTo>
                <a:lnTo>
                  <a:pt x="46" y="9"/>
                </a:lnTo>
                <a:lnTo>
                  <a:pt x="53" y="8"/>
                </a:lnTo>
                <a:lnTo>
                  <a:pt x="59" y="10"/>
                </a:lnTo>
                <a:lnTo>
                  <a:pt x="65" y="9"/>
                </a:lnTo>
                <a:lnTo>
                  <a:pt x="69" y="14"/>
                </a:lnTo>
                <a:lnTo>
                  <a:pt x="69" y="17"/>
                </a:lnTo>
                <a:lnTo>
                  <a:pt x="66" y="17"/>
                </a:lnTo>
                <a:lnTo>
                  <a:pt x="67" y="20"/>
                </a:lnTo>
                <a:lnTo>
                  <a:pt x="70" y="20"/>
                </a:lnTo>
                <a:lnTo>
                  <a:pt x="72" y="17"/>
                </a:lnTo>
                <a:lnTo>
                  <a:pt x="73" y="24"/>
                </a:lnTo>
                <a:lnTo>
                  <a:pt x="78" y="31"/>
                </a:lnTo>
                <a:lnTo>
                  <a:pt x="80" y="35"/>
                </a:lnTo>
                <a:lnTo>
                  <a:pt x="84" y="33"/>
                </a:lnTo>
                <a:lnTo>
                  <a:pt x="87" y="37"/>
                </a:lnTo>
                <a:lnTo>
                  <a:pt x="83" y="39"/>
                </a:lnTo>
                <a:lnTo>
                  <a:pt x="81" y="45"/>
                </a:lnTo>
                <a:lnTo>
                  <a:pt x="83" y="49"/>
                </a:lnTo>
                <a:lnTo>
                  <a:pt x="80" y="50"/>
                </a:lnTo>
                <a:lnTo>
                  <a:pt x="82" y="53"/>
                </a:lnTo>
                <a:lnTo>
                  <a:pt x="79" y="56"/>
                </a:lnTo>
                <a:lnTo>
                  <a:pt x="74" y="52"/>
                </a:lnTo>
                <a:lnTo>
                  <a:pt x="69" y="52"/>
                </a:lnTo>
                <a:lnTo>
                  <a:pt x="70" y="49"/>
                </a:lnTo>
                <a:lnTo>
                  <a:pt x="64" y="45"/>
                </a:lnTo>
                <a:lnTo>
                  <a:pt x="59" y="41"/>
                </a:lnTo>
                <a:lnTo>
                  <a:pt x="56" y="42"/>
                </a:lnTo>
                <a:lnTo>
                  <a:pt x="59" y="47"/>
                </a:lnTo>
                <a:lnTo>
                  <a:pt x="59" y="53"/>
                </a:lnTo>
                <a:lnTo>
                  <a:pt x="55" y="55"/>
                </a:lnTo>
                <a:lnTo>
                  <a:pt x="57" y="59"/>
                </a:lnTo>
                <a:lnTo>
                  <a:pt x="52" y="60"/>
                </a:lnTo>
                <a:lnTo>
                  <a:pt x="49" y="66"/>
                </a:lnTo>
                <a:lnTo>
                  <a:pt x="54" y="70"/>
                </a:lnTo>
                <a:lnTo>
                  <a:pt x="56" y="67"/>
                </a:lnTo>
                <a:lnTo>
                  <a:pt x="60" y="67"/>
                </a:lnTo>
                <a:lnTo>
                  <a:pt x="61" y="70"/>
                </a:lnTo>
                <a:lnTo>
                  <a:pt x="56" y="74"/>
                </a:lnTo>
                <a:lnTo>
                  <a:pt x="51" y="78"/>
                </a:lnTo>
                <a:lnTo>
                  <a:pt x="54" y="84"/>
                </a:lnTo>
                <a:lnTo>
                  <a:pt x="49" y="85"/>
                </a:lnTo>
                <a:lnTo>
                  <a:pt x="45" y="82"/>
                </a:lnTo>
                <a:lnTo>
                  <a:pt x="42" y="84"/>
                </a:lnTo>
                <a:lnTo>
                  <a:pt x="41" y="80"/>
                </a:lnTo>
                <a:lnTo>
                  <a:pt x="39" y="78"/>
                </a:lnTo>
                <a:lnTo>
                  <a:pt x="35" y="77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71" name="Freeform 61"/>
          <p:cNvSpPr>
            <a:spLocks/>
          </p:cNvSpPr>
          <p:nvPr/>
        </p:nvSpPr>
        <p:spPr bwMode="auto">
          <a:xfrm>
            <a:off x="3879407" y="2920999"/>
            <a:ext cx="1285875" cy="742950"/>
          </a:xfrm>
          <a:custGeom>
            <a:avLst/>
            <a:gdLst>
              <a:gd name="T0" fmla="*/ 2147483647 w 135"/>
              <a:gd name="T1" fmla="*/ 2147483647 h 78"/>
              <a:gd name="T2" fmla="*/ 2147483647 w 135"/>
              <a:gd name="T3" fmla="*/ 2147483647 h 78"/>
              <a:gd name="T4" fmla="*/ 2147483647 w 135"/>
              <a:gd name="T5" fmla="*/ 2147483647 h 78"/>
              <a:gd name="T6" fmla="*/ 2147483647 w 135"/>
              <a:gd name="T7" fmla="*/ 2147483647 h 78"/>
              <a:gd name="T8" fmla="*/ 2147483647 w 135"/>
              <a:gd name="T9" fmla="*/ 2147483647 h 78"/>
              <a:gd name="T10" fmla="*/ 2147483647 w 135"/>
              <a:gd name="T11" fmla="*/ 2147483647 h 78"/>
              <a:gd name="T12" fmla="*/ 2147483647 w 135"/>
              <a:gd name="T13" fmla="*/ 2147483647 h 78"/>
              <a:gd name="T14" fmla="*/ 2147483647 w 135"/>
              <a:gd name="T15" fmla="*/ 2147483647 h 78"/>
              <a:gd name="T16" fmla="*/ 2147483647 w 135"/>
              <a:gd name="T17" fmla="*/ 2147483647 h 78"/>
              <a:gd name="T18" fmla="*/ 2147483647 w 135"/>
              <a:gd name="T19" fmla="*/ 2147483647 h 78"/>
              <a:gd name="T20" fmla="*/ 2147483647 w 135"/>
              <a:gd name="T21" fmla="*/ 2147483647 h 78"/>
              <a:gd name="T22" fmla="*/ 2147483647 w 135"/>
              <a:gd name="T23" fmla="*/ 2147483647 h 78"/>
              <a:gd name="T24" fmla="*/ 2147483647 w 135"/>
              <a:gd name="T25" fmla="*/ 2147483647 h 78"/>
              <a:gd name="T26" fmla="*/ 0 w 135"/>
              <a:gd name="T27" fmla="*/ 2147483647 h 78"/>
              <a:gd name="T28" fmla="*/ 2147483647 w 135"/>
              <a:gd name="T29" fmla="*/ 2147483647 h 78"/>
              <a:gd name="T30" fmla="*/ 2147483647 w 135"/>
              <a:gd name="T31" fmla="*/ 2147483647 h 78"/>
              <a:gd name="T32" fmla="*/ 2147483647 w 135"/>
              <a:gd name="T33" fmla="*/ 2147483647 h 78"/>
              <a:gd name="T34" fmla="*/ 2147483647 w 135"/>
              <a:gd name="T35" fmla="*/ 2147483647 h 78"/>
              <a:gd name="T36" fmla="*/ 2147483647 w 135"/>
              <a:gd name="T37" fmla="*/ 2147483647 h 78"/>
              <a:gd name="T38" fmla="*/ 2147483647 w 135"/>
              <a:gd name="T39" fmla="*/ 2147483647 h 78"/>
              <a:gd name="T40" fmla="*/ 2147483647 w 135"/>
              <a:gd name="T41" fmla="*/ 2147483647 h 78"/>
              <a:gd name="T42" fmla="*/ 2147483647 w 135"/>
              <a:gd name="T43" fmla="*/ 2147483647 h 78"/>
              <a:gd name="T44" fmla="*/ 2147483647 w 135"/>
              <a:gd name="T45" fmla="*/ 2147483647 h 78"/>
              <a:gd name="T46" fmla="*/ 2147483647 w 135"/>
              <a:gd name="T47" fmla="*/ 2147483647 h 78"/>
              <a:gd name="T48" fmla="*/ 2147483647 w 135"/>
              <a:gd name="T49" fmla="*/ 2147483647 h 78"/>
              <a:gd name="T50" fmla="*/ 2147483647 w 135"/>
              <a:gd name="T51" fmla="*/ 2147483647 h 78"/>
              <a:gd name="T52" fmla="*/ 2147483647 w 135"/>
              <a:gd name="T53" fmla="*/ 2147483647 h 78"/>
              <a:gd name="T54" fmla="*/ 2147483647 w 135"/>
              <a:gd name="T55" fmla="*/ 2147483647 h 78"/>
              <a:gd name="T56" fmla="*/ 2147483647 w 135"/>
              <a:gd name="T57" fmla="*/ 2147483647 h 78"/>
              <a:gd name="T58" fmla="*/ 2147483647 w 135"/>
              <a:gd name="T59" fmla="*/ 0 h 78"/>
              <a:gd name="T60" fmla="*/ 2147483647 w 135"/>
              <a:gd name="T61" fmla="*/ 2147483647 h 78"/>
              <a:gd name="T62" fmla="*/ 2147483647 w 135"/>
              <a:gd name="T63" fmla="*/ 2147483647 h 78"/>
              <a:gd name="T64" fmla="*/ 2147483647 w 135"/>
              <a:gd name="T65" fmla="*/ 2147483647 h 78"/>
              <a:gd name="T66" fmla="*/ 2147483647 w 135"/>
              <a:gd name="T67" fmla="*/ 2147483647 h 78"/>
              <a:gd name="T68" fmla="*/ 2147483647 w 135"/>
              <a:gd name="T69" fmla="*/ 2147483647 h 78"/>
              <a:gd name="T70" fmla="*/ 2147483647 w 135"/>
              <a:gd name="T71" fmla="*/ 2147483647 h 78"/>
              <a:gd name="T72" fmla="*/ 2147483647 w 135"/>
              <a:gd name="T73" fmla="*/ 2147483647 h 78"/>
              <a:gd name="T74" fmla="*/ 2147483647 w 135"/>
              <a:gd name="T75" fmla="*/ 2147483647 h 78"/>
              <a:gd name="T76" fmla="*/ 2147483647 w 135"/>
              <a:gd name="T77" fmla="*/ 2147483647 h 78"/>
              <a:gd name="T78" fmla="*/ 2147483647 w 135"/>
              <a:gd name="T79" fmla="*/ 2147483647 h 78"/>
              <a:gd name="T80" fmla="*/ 2147483647 w 135"/>
              <a:gd name="T81" fmla="*/ 2147483647 h 78"/>
              <a:gd name="T82" fmla="*/ 2147483647 w 135"/>
              <a:gd name="T83" fmla="*/ 2147483647 h 78"/>
              <a:gd name="T84" fmla="*/ 2147483647 w 135"/>
              <a:gd name="T85" fmla="*/ 2147483647 h 78"/>
              <a:gd name="T86" fmla="*/ 2147483647 w 135"/>
              <a:gd name="T87" fmla="*/ 2147483647 h 78"/>
              <a:gd name="T88" fmla="*/ 2147483647 w 135"/>
              <a:gd name="T89" fmla="*/ 2147483647 h 78"/>
              <a:gd name="T90" fmla="*/ 2147483647 w 135"/>
              <a:gd name="T91" fmla="*/ 2147483647 h 7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35"/>
              <a:gd name="T139" fmla="*/ 0 h 78"/>
              <a:gd name="T140" fmla="*/ 135 w 135"/>
              <a:gd name="T141" fmla="*/ 78 h 78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35" h="78">
                <a:moveTo>
                  <a:pt x="69" y="75"/>
                </a:moveTo>
                <a:lnTo>
                  <a:pt x="69" y="74"/>
                </a:lnTo>
                <a:lnTo>
                  <a:pt x="66" y="77"/>
                </a:lnTo>
                <a:lnTo>
                  <a:pt x="61" y="78"/>
                </a:lnTo>
                <a:lnTo>
                  <a:pt x="57" y="74"/>
                </a:lnTo>
                <a:lnTo>
                  <a:pt x="51" y="69"/>
                </a:lnTo>
                <a:lnTo>
                  <a:pt x="48" y="71"/>
                </a:lnTo>
                <a:lnTo>
                  <a:pt x="44" y="70"/>
                </a:lnTo>
                <a:lnTo>
                  <a:pt x="40" y="70"/>
                </a:lnTo>
                <a:lnTo>
                  <a:pt x="39" y="68"/>
                </a:lnTo>
                <a:lnTo>
                  <a:pt x="37" y="68"/>
                </a:lnTo>
                <a:lnTo>
                  <a:pt x="35" y="66"/>
                </a:lnTo>
                <a:lnTo>
                  <a:pt x="33" y="65"/>
                </a:lnTo>
                <a:lnTo>
                  <a:pt x="32" y="63"/>
                </a:lnTo>
                <a:lnTo>
                  <a:pt x="31" y="61"/>
                </a:lnTo>
                <a:lnTo>
                  <a:pt x="28" y="61"/>
                </a:lnTo>
                <a:lnTo>
                  <a:pt x="26" y="60"/>
                </a:lnTo>
                <a:lnTo>
                  <a:pt x="23" y="61"/>
                </a:lnTo>
                <a:lnTo>
                  <a:pt x="23" y="63"/>
                </a:lnTo>
                <a:lnTo>
                  <a:pt x="22" y="63"/>
                </a:lnTo>
                <a:lnTo>
                  <a:pt x="21" y="65"/>
                </a:lnTo>
                <a:lnTo>
                  <a:pt x="19" y="66"/>
                </a:lnTo>
                <a:lnTo>
                  <a:pt x="14" y="67"/>
                </a:lnTo>
                <a:lnTo>
                  <a:pt x="8" y="64"/>
                </a:lnTo>
                <a:lnTo>
                  <a:pt x="6" y="64"/>
                </a:lnTo>
                <a:lnTo>
                  <a:pt x="3" y="67"/>
                </a:lnTo>
                <a:lnTo>
                  <a:pt x="2" y="66"/>
                </a:lnTo>
                <a:lnTo>
                  <a:pt x="0" y="59"/>
                </a:lnTo>
                <a:lnTo>
                  <a:pt x="1" y="56"/>
                </a:lnTo>
                <a:lnTo>
                  <a:pt x="5" y="52"/>
                </a:lnTo>
                <a:lnTo>
                  <a:pt x="8" y="49"/>
                </a:lnTo>
                <a:lnTo>
                  <a:pt x="9" y="47"/>
                </a:lnTo>
                <a:lnTo>
                  <a:pt x="12" y="45"/>
                </a:lnTo>
                <a:lnTo>
                  <a:pt x="16" y="48"/>
                </a:lnTo>
                <a:lnTo>
                  <a:pt x="21" y="47"/>
                </a:lnTo>
                <a:lnTo>
                  <a:pt x="18" y="41"/>
                </a:lnTo>
                <a:lnTo>
                  <a:pt x="23" y="37"/>
                </a:lnTo>
                <a:lnTo>
                  <a:pt x="28" y="33"/>
                </a:lnTo>
                <a:lnTo>
                  <a:pt x="27" y="30"/>
                </a:lnTo>
                <a:lnTo>
                  <a:pt x="23" y="30"/>
                </a:lnTo>
                <a:lnTo>
                  <a:pt x="21" y="33"/>
                </a:lnTo>
                <a:lnTo>
                  <a:pt x="16" y="29"/>
                </a:lnTo>
                <a:lnTo>
                  <a:pt x="19" y="23"/>
                </a:lnTo>
                <a:lnTo>
                  <a:pt x="24" y="22"/>
                </a:lnTo>
                <a:lnTo>
                  <a:pt x="22" y="18"/>
                </a:lnTo>
                <a:lnTo>
                  <a:pt x="26" y="16"/>
                </a:lnTo>
                <a:lnTo>
                  <a:pt x="26" y="10"/>
                </a:lnTo>
                <a:lnTo>
                  <a:pt x="23" y="5"/>
                </a:lnTo>
                <a:lnTo>
                  <a:pt x="26" y="4"/>
                </a:lnTo>
                <a:lnTo>
                  <a:pt x="31" y="8"/>
                </a:lnTo>
                <a:lnTo>
                  <a:pt x="37" y="12"/>
                </a:lnTo>
                <a:lnTo>
                  <a:pt x="36" y="15"/>
                </a:lnTo>
                <a:lnTo>
                  <a:pt x="41" y="15"/>
                </a:lnTo>
                <a:lnTo>
                  <a:pt x="46" y="19"/>
                </a:lnTo>
                <a:lnTo>
                  <a:pt x="49" y="16"/>
                </a:lnTo>
                <a:lnTo>
                  <a:pt x="47" y="13"/>
                </a:lnTo>
                <a:lnTo>
                  <a:pt x="50" y="12"/>
                </a:lnTo>
                <a:lnTo>
                  <a:pt x="48" y="8"/>
                </a:lnTo>
                <a:lnTo>
                  <a:pt x="50" y="2"/>
                </a:lnTo>
                <a:lnTo>
                  <a:pt x="54" y="0"/>
                </a:lnTo>
                <a:lnTo>
                  <a:pt x="63" y="1"/>
                </a:lnTo>
                <a:lnTo>
                  <a:pt x="69" y="2"/>
                </a:lnTo>
                <a:lnTo>
                  <a:pt x="74" y="0"/>
                </a:lnTo>
                <a:lnTo>
                  <a:pt x="80" y="5"/>
                </a:lnTo>
                <a:lnTo>
                  <a:pt x="94" y="15"/>
                </a:lnTo>
                <a:lnTo>
                  <a:pt x="111" y="27"/>
                </a:lnTo>
                <a:lnTo>
                  <a:pt x="119" y="26"/>
                </a:lnTo>
                <a:lnTo>
                  <a:pt x="122" y="23"/>
                </a:lnTo>
                <a:lnTo>
                  <a:pt x="127" y="23"/>
                </a:lnTo>
                <a:lnTo>
                  <a:pt x="128" y="20"/>
                </a:lnTo>
                <a:lnTo>
                  <a:pt x="132" y="20"/>
                </a:lnTo>
                <a:lnTo>
                  <a:pt x="133" y="17"/>
                </a:lnTo>
                <a:lnTo>
                  <a:pt x="135" y="19"/>
                </a:lnTo>
                <a:lnTo>
                  <a:pt x="133" y="23"/>
                </a:lnTo>
                <a:lnTo>
                  <a:pt x="134" y="26"/>
                </a:lnTo>
                <a:lnTo>
                  <a:pt x="134" y="28"/>
                </a:lnTo>
                <a:lnTo>
                  <a:pt x="133" y="31"/>
                </a:lnTo>
                <a:lnTo>
                  <a:pt x="125" y="35"/>
                </a:lnTo>
                <a:lnTo>
                  <a:pt x="122" y="35"/>
                </a:lnTo>
                <a:lnTo>
                  <a:pt x="113" y="37"/>
                </a:lnTo>
                <a:lnTo>
                  <a:pt x="108" y="42"/>
                </a:lnTo>
                <a:lnTo>
                  <a:pt x="101" y="40"/>
                </a:lnTo>
                <a:lnTo>
                  <a:pt x="98" y="44"/>
                </a:lnTo>
                <a:lnTo>
                  <a:pt x="95" y="46"/>
                </a:lnTo>
                <a:lnTo>
                  <a:pt x="93" y="42"/>
                </a:lnTo>
                <a:lnTo>
                  <a:pt x="90" y="42"/>
                </a:lnTo>
                <a:lnTo>
                  <a:pt x="83" y="49"/>
                </a:lnTo>
                <a:lnTo>
                  <a:pt x="85" y="54"/>
                </a:lnTo>
                <a:lnTo>
                  <a:pt x="81" y="57"/>
                </a:lnTo>
                <a:lnTo>
                  <a:pt x="76" y="59"/>
                </a:lnTo>
                <a:lnTo>
                  <a:pt x="73" y="65"/>
                </a:lnTo>
                <a:lnTo>
                  <a:pt x="69" y="75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 anchor="b"/>
          <a:lstStyle/>
          <a:p>
            <a:endParaRPr lang="ru-RU"/>
          </a:p>
        </p:txBody>
      </p:sp>
      <p:sp>
        <p:nvSpPr>
          <p:cNvPr id="72" name="Freeform 62"/>
          <p:cNvSpPr>
            <a:spLocks/>
          </p:cNvSpPr>
          <p:nvPr/>
        </p:nvSpPr>
        <p:spPr bwMode="auto">
          <a:xfrm>
            <a:off x="4250882" y="2511424"/>
            <a:ext cx="952500" cy="666750"/>
          </a:xfrm>
          <a:custGeom>
            <a:avLst/>
            <a:gdLst>
              <a:gd name="T0" fmla="*/ 2147483647 w 100"/>
              <a:gd name="T1" fmla="*/ 2147483647 h 70"/>
              <a:gd name="T2" fmla="*/ 2147483647 w 100"/>
              <a:gd name="T3" fmla="*/ 2147483647 h 70"/>
              <a:gd name="T4" fmla="*/ 2147483647 w 100"/>
              <a:gd name="T5" fmla="*/ 2147483647 h 70"/>
              <a:gd name="T6" fmla="*/ 2147483647 w 100"/>
              <a:gd name="T7" fmla="*/ 2147483647 h 70"/>
              <a:gd name="T8" fmla="*/ 2147483647 w 100"/>
              <a:gd name="T9" fmla="*/ 2147483647 h 70"/>
              <a:gd name="T10" fmla="*/ 2147483647 w 100"/>
              <a:gd name="T11" fmla="*/ 2147483647 h 70"/>
              <a:gd name="T12" fmla="*/ 2147483647 w 100"/>
              <a:gd name="T13" fmla="*/ 2147483647 h 70"/>
              <a:gd name="T14" fmla="*/ 2147483647 w 100"/>
              <a:gd name="T15" fmla="*/ 2147483647 h 70"/>
              <a:gd name="T16" fmla="*/ 2147483647 w 100"/>
              <a:gd name="T17" fmla="*/ 2147483647 h 70"/>
              <a:gd name="T18" fmla="*/ 2147483647 w 100"/>
              <a:gd name="T19" fmla="*/ 2147483647 h 70"/>
              <a:gd name="T20" fmla="*/ 2147483647 w 100"/>
              <a:gd name="T21" fmla="*/ 2147483647 h 70"/>
              <a:gd name="T22" fmla="*/ 2147483647 w 100"/>
              <a:gd name="T23" fmla="*/ 2147483647 h 70"/>
              <a:gd name="T24" fmla="*/ 2147483647 w 100"/>
              <a:gd name="T25" fmla="*/ 2147483647 h 70"/>
              <a:gd name="T26" fmla="*/ 2147483647 w 100"/>
              <a:gd name="T27" fmla="*/ 2147483647 h 70"/>
              <a:gd name="T28" fmla="*/ 2147483647 w 100"/>
              <a:gd name="T29" fmla="*/ 2147483647 h 70"/>
              <a:gd name="T30" fmla="*/ 2147483647 w 100"/>
              <a:gd name="T31" fmla="*/ 2147483647 h 70"/>
              <a:gd name="T32" fmla="*/ 2147483647 w 100"/>
              <a:gd name="T33" fmla="*/ 2147483647 h 70"/>
              <a:gd name="T34" fmla="*/ 2147483647 w 100"/>
              <a:gd name="T35" fmla="*/ 2147483647 h 70"/>
              <a:gd name="T36" fmla="*/ 2147483647 w 100"/>
              <a:gd name="T37" fmla="*/ 2147483647 h 70"/>
              <a:gd name="T38" fmla="*/ 2147483647 w 100"/>
              <a:gd name="T39" fmla="*/ 2147483647 h 70"/>
              <a:gd name="T40" fmla="*/ 2147483647 w 100"/>
              <a:gd name="T41" fmla="*/ 2147483647 h 70"/>
              <a:gd name="T42" fmla="*/ 2147483647 w 100"/>
              <a:gd name="T43" fmla="*/ 2147483647 h 70"/>
              <a:gd name="T44" fmla="*/ 2147483647 w 100"/>
              <a:gd name="T45" fmla="*/ 2147483647 h 70"/>
              <a:gd name="T46" fmla="*/ 2147483647 w 100"/>
              <a:gd name="T47" fmla="*/ 2147483647 h 70"/>
              <a:gd name="T48" fmla="*/ 2147483647 w 100"/>
              <a:gd name="T49" fmla="*/ 2147483647 h 70"/>
              <a:gd name="T50" fmla="*/ 2147483647 w 100"/>
              <a:gd name="T51" fmla="*/ 2147483647 h 70"/>
              <a:gd name="T52" fmla="*/ 2147483647 w 100"/>
              <a:gd name="T53" fmla="*/ 2147483647 h 70"/>
              <a:gd name="T54" fmla="*/ 2147483647 w 100"/>
              <a:gd name="T55" fmla="*/ 2147483647 h 70"/>
              <a:gd name="T56" fmla="*/ 2147483647 w 100"/>
              <a:gd name="T57" fmla="*/ 2147483647 h 70"/>
              <a:gd name="T58" fmla="*/ 2147483647 w 100"/>
              <a:gd name="T59" fmla="*/ 2147483647 h 70"/>
              <a:gd name="T60" fmla="*/ 2147483647 w 100"/>
              <a:gd name="T61" fmla="*/ 2147483647 h 70"/>
              <a:gd name="T62" fmla="*/ 2147483647 w 100"/>
              <a:gd name="T63" fmla="*/ 2147483647 h 70"/>
              <a:gd name="T64" fmla="*/ 2147483647 w 100"/>
              <a:gd name="T65" fmla="*/ 2147483647 h 70"/>
              <a:gd name="T66" fmla="*/ 2147483647 w 100"/>
              <a:gd name="T67" fmla="*/ 2147483647 h 70"/>
              <a:gd name="T68" fmla="*/ 2147483647 w 100"/>
              <a:gd name="T69" fmla="*/ 2147483647 h 70"/>
              <a:gd name="T70" fmla="*/ 2147483647 w 100"/>
              <a:gd name="T71" fmla="*/ 2147483647 h 70"/>
              <a:gd name="T72" fmla="*/ 2147483647 w 100"/>
              <a:gd name="T73" fmla="*/ 2147483647 h 70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00"/>
              <a:gd name="T112" fmla="*/ 0 h 70"/>
              <a:gd name="T113" fmla="*/ 100 w 100"/>
              <a:gd name="T114" fmla="*/ 70 h 70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00" h="70">
                <a:moveTo>
                  <a:pt x="96" y="62"/>
                </a:moveTo>
                <a:lnTo>
                  <a:pt x="94" y="60"/>
                </a:lnTo>
                <a:lnTo>
                  <a:pt x="93" y="63"/>
                </a:lnTo>
                <a:lnTo>
                  <a:pt x="89" y="63"/>
                </a:lnTo>
                <a:lnTo>
                  <a:pt x="88" y="66"/>
                </a:lnTo>
                <a:lnTo>
                  <a:pt x="83" y="66"/>
                </a:lnTo>
                <a:lnTo>
                  <a:pt x="80" y="69"/>
                </a:lnTo>
                <a:lnTo>
                  <a:pt x="72" y="70"/>
                </a:lnTo>
                <a:lnTo>
                  <a:pt x="55" y="58"/>
                </a:lnTo>
                <a:lnTo>
                  <a:pt x="41" y="48"/>
                </a:lnTo>
                <a:lnTo>
                  <a:pt x="35" y="43"/>
                </a:lnTo>
                <a:lnTo>
                  <a:pt x="30" y="45"/>
                </a:lnTo>
                <a:lnTo>
                  <a:pt x="24" y="44"/>
                </a:lnTo>
                <a:lnTo>
                  <a:pt x="15" y="43"/>
                </a:lnTo>
                <a:lnTo>
                  <a:pt x="12" y="39"/>
                </a:lnTo>
                <a:lnTo>
                  <a:pt x="8" y="41"/>
                </a:lnTo>
                <a:lnTo>
                  <a:pt x="6" y="37"/>
                </a:lnTo>
                <a:lnTo>
                  <a:pt x="1" y="30"/>
                </a:lnTo>
                <a:lnTo>
                  <a:pt x="0" y="23"/>
                </a:lnTo>
                <a:lnTo>
                  <a:pt x="6" y="18"/>
                </a:lnTo>
                <a:lnTo>
                  <a:pt x="6" y="13"/>
                </a:lnTo>
                <a:lnTo>
                  <a:pt x="13" y="9"/>
                </a:lnTo>
                <a:lnTo>
                  <a:pt x="17" y="7"/>
                </a:lnTo>
                <a:lnTo>
                  <a:pt x="16" y="2"/>
                </a:lnTo>
                <a:lnTo>
                  <a:pt x="17" y="0"/>
                </a:lnTo>
                <a:lnTo>
                  <a:pt x="21" y="5"/>
                </a:lnTo>
                <a:lnTo>
                  <a:pt x="23" y="8"/>
                </a:lnTo>
                <a:lnTo>
                  <a:pt x="24" y="14"/>
                </a:lnTo>
                <a:lnTo>
                  <a:pt x="23" y="17"/>
                </a:lnTo>
                <a:lnTo>
                  <a:pt x="22" y="20"/>
                </a:lnTo>
                <a:lnTo>
                  <a:pt x="21" y="20"/>
                </a:lnTo>
                <a:lnTo>
                  <a:pt x="19" y="18"/>
                </a:lnTo>
                <a:lnTo>
                  <a:pt x="17" y="17"/>
                </a:lnTo>
                <a:lnTo>
                  <a:pt x="12" y="18"/>
                </a:lnTo>
                <a:lnTo>
                  <a:pt x="12" y="22"/>
                </a:lnTo>
                <a:lnTo>
                  <a:pt x="10" y="26"/>
                </a:lnTo>
                <a:lnTo>
                  <a:pt x="16" y="29"/>
                </a:lnTo>
                <a:lnTo>
                  <a:pt x="23" y="24"/>
                </a:lnTo>
                <a:lnTo>
                  <a:pt x="26" y="27"/>
                </a:lnTo>
                <a:lnTo>
                  <a:pt x="29" y="25"/>
                </a:lnTo>
                <a:lnTo>
                  <a:pt x="38" y="26"/>
                </a:lnTo>
                <a:lnTo>
                  <a:pt x="45" y="28"/>
                </a:lnTo>
                <a:lnTo>
                  <a:pt x="45" y="32"/>
                </a:lnTo>
                <a:lnTo>
                  <a:pt x="48" y="32"/>
                </a:lnTo>
                <a:lnTo>
                  <a:pt x="48" y="28"/>
                </a:lnTo>
                <a:lnTo>
                  <a:pt x="56" y="29"/>
                </a:lnTo>
                <a:lnTo>
                  <a:pt x="56" y="32"/>
                </a:lnTo>
                <a:lnTo>
                  <a:pt x="54" y="36"/>
                </a:lnTo>
                <a:lnTo>
                  <a:pt x="52" y="36"/>
                </a:lnTo>
                <a:lnTo>
                  <a:pt x="50" y="34"/>
                </a:lnTo>
                <a:lnTo>
                  <a:pt x="48" y="35"/>
                </a:lnTo>
                <a:lnTo>
                  <a:pt x="52" y="38"/>
                </a:lnTo>
                <a:lnTo>
                  <a:pt x="60" y="37"/>
                </a:lnTo>
                <a:lnTo>
                  <a:pt x="64" y="41"/>
                </a:lnTo>
                <a:lnTo>
                  <a:pt x="75" y="42"/>
                </a:lnTo>
                <a:lnTo>
                  <a:pt x="75" y="46"/>
                </a:lnTo>
                <a:lnTo>
                  <a:pt x="72" y="47"/>
                </a:lnTo>
                <a:lnTo>
                  <a:pt x="76" y="51"/>
                </a:lnTo>
                <a:lnTo>
                  <a:pt x="76" y="48"/>
                </a:lnTo>
                <a:lnTo>
                  <a:pt x="79" y="48"/>
                </a:lnTo>
                <a:lnTo>
                  <a:pt x="83" y="46"/>
                </a:lnTo>
                <a:lnTo>
                  <a:pt x="83" y="37"/>
                </a:lnTo>
                <a:lnTo>
                  <a:pt x="81" y="33"/>
                </a:lnTo>
                <a:lnTo>
                  <a:pt x="82" y="28"/>
                </a:lnTo>
                <a:lnTo>
                  <a:pt x="86" y="26"/>
                </a:lnTo>
                <a:lnTo>
                  <a:pt x="87" y="31"/>
                </a:lnTo>
                <a:lnTo>
                  <a:pt x="87" y="38"/>
                </a:lnTo>
                <a:lnTo>
                  <a:pt x="92" y="41"/>
                </a:lnTo>
                <a:lnTo>
                  <a:pt x="97" y="45"/>
                </a:lnTo>
                <a:lnTo>
                  <a:pt x="100" y="52"/>
                </a:lnTo>
                <a:lnTo>
                  <a:pt x="96" y="55"/>
                </a:lnTo>
                <a:lnTo>
                  <a:pt x="99" y="58"/>
                </a:lnTo>
                <a:lnTo>
                  <a:pt x="98" y="61"/>
                </a:lnTo>
                <a:lnTo>
                  <a:pt x="96" y="6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73" name="Freeform 63"/>
          <p:cNvSpPr>
            <a:spLocks/>
          </p:cNvSpPr>
          <p:nvPr/>
        </p:nvSpPr>
        <p:spPr bwMode="auto">
          <a:xfrm>
            <a:off x="4584257" y="2606674"/>
            <a:ext cx="85725" cy="85725"/>
          </a:xfrm>
          <a:custGeom>
            <a:avLst/>
            <a:gdLst>
              <a:gd name="T0" fmla="*/ 0 w 9"/>
              <a:gd name="T1" fmla="*/ 2147483647 h 9"/>
              <a:gd name="T2" fmla="*/ 2147483647 w 9"/>
              <a:gd name="T3" fmla="*/ 2147483647 h 9"/>
              <a:gd name="T4" fmla="*/ 2147483647 w 9"/>
              <a:gd name="T5" fmla="*/ 0 h 9"/>
              <a:gd name="T6" fmla="*/ 2147483647 w 9"/>
              <a:gd name="T7" fmla="*/ 2147483647 h 9"/>
              <a:gd name="T8" fmla="*/ 2147483647 w 9"/>
              <a:gd name="T9" fmla="*/ 2147483647 h 9"/>
              <a:gd name="T10" fmla="*/ 2147483647 w 9"/>
              <a:gd name="T11" fmla="*/ 2147483647 h 9"/>
              <a:gd name="T12" fmla="*/ 0 w 9"/>
              <a:gd name="T13" fmla="*/ 2147483647 h 9"/>
              <a:gd name="T14" fmla="*/ 0 w 9"/>
              <a:gd name="T15" fmla="*/ 2147483647 h 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9"/>
              <a:gd name="T25" fmla="*/ 0 h 9"/>
              <a:gd name="T26" fmla="*/ 9 w 9"/>
              <a:gd name="T27" fmla="*/ 9 h 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9" h="9">
                <a:moveTo>
                  <a:pt x="0" y="5"/>
                </a:moveTo>
                <a:lnTo>
                  <a:pt x="1" y="1"/>
                </a:lnTo>
                <a:lnTo>
                  <a:pt x="6" y="0"/>
                </a:lnTo>
                <a:lnTo>
                  <a:pt x="9" y="3"/>
                </a:lnTo>
                <a:lnTo>
                  <a:pt x="9" y="9"/>
                </a:lnTo>
                <a:lnTo>
                  <a:pt x="4" y="9"/>
                </a:lnTo>
                <a:lnTo>
                  <a:pt x="0" y="7"/>
                </a:lnTo>
                <a:lnTo>
                  <a:pt x="0" y="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74" name="Freeform 64"/>
          <p:cNvSpPr>
            <a:spLocks/>
          </p:cNvSpPr>
          <p:nvPr/>
        </p:nvSpPr>
        <p:spPr bwMode="auto">
          <a:xfrm>
            <a:off x="4850957" y="2635249"/>
            <a:ext cx="1085850" cy="1457325"/>
          </a:xfrm>
          <a:custGeom>
            <a:avLst/>
            <a:gdLst>
              <a:gd name="T0" fmla="*/ 2147483647 w 114"/>
              <a:gd name="T1" fmla="*/ 2147483647 h 153"/>
              <a:gd name="T2" fmla="*/ 2147483647 w 114"/>
              <a:gd name="T3" fmla="*/ 2147483647 h 153"/>
              <a:gd name="T4" fmla="*/ 2147483647 w 114"/>
              <a:gd name="T5" fmla="*/ 2147483647 h 153"/>
              <a:gd name="T6" fmla="*/ 2147483647 w 114"/>
              <a:gd name="T7" fmla="*/ 2147483647 h 153"/>
              <a:gd name="T8" fmla="*/ 2147483647 w 114"/>
              <a:gd name="T9" fmla="*/ 2147483647 h 153"/>
              <a:gd name="T10" fmla="*/ 0 w 114"/>
              <a:gd name="T11" fmla="*/ 2147483647 h 153"/>
              <a:gd name="T12" fmla="*/ 2147483647 w 114"/>
              <a:gd name="T13" fmla="*/ 2147483647 h 153"/>
              <a:gd name="T14" fmla="*/ 2147483647 w 114"/>
              <a:gd name="T15" fmla="*/ 2147483647 h 153"/>
              <a:gd name="T16" fmla="*/ 2147483647 w 114"/>
              <a:gd name="T17" fmla="*/ 2147483647 h 153"/>
              <a:gd name="T18" fmla="*/ 2147483647 w 114"/>
              <a:gd name="T19" fmla="*/ 2147483647 h 153"/>
              <a:gd name="T20" fmla="*/ 2147483647 w 114"/>
              <a:gd name="T21" fmla="*/ 2147483647 h 153"/>
              <a:gd name="T22" fmla="*/ 2147483647 w 114"/>
              <a:gd name="T23" fmla="*/ 2147483647 h 153"/>
              <a:gd name="T24" fmla="*/ 2147483647 w 114"/>
              <a:gd name="T25" fmla="*/ 2147483647 h 153"/>
              <a:gd name="T26" fmla="*/ 2147483647 w 114"/>
              <a:gd name="T27" fmla="*/ 2147483647 h 153"/>
              <a:gd name="T28" fmla="*/ 2147483647 w 114"/>
              <a:gd name="T29" fmla="*/ 2147483647 h 153"/>
              <a:gd name="T30" fmla="*/ 2147483647 w 114"/>
              <a:gd name="T31" fmla="*/ 2147483647 h 153"/>
              <a:gd name="T32" fmla="*/ 2147483647 w 114"/>
              <a:gd name="T33" fmla="*/ 2147483647 h 153"/>
              <a:gd name="T34" fmla="*/ 2147483647 w 114"/>
              <a:gd name="T35" fmla="*/ 2147483647 h 153"/>
              <a:gd name="T36" fmla="*/ 2147483647 w 114"/>
              <a:gd name="T37" fmla="*/ 2147483647 h 153"/>
              <a:gd name="T38" fmla="*/ 2147483647 w 114"/>
              <a:gd name="T39" fmla="*/ 2147483647 h 153"/>
              <a:gd name="T40" fmla="*/ 2147483647 w 114"/>
              <a:gd name="T41" fmla="*/ 2147483647 h 153"/>
              <a:gd name="T42" fmla="*/ 2147483647 w 114"/>
              <a:gd name="T43" fmla="*/ 2147483647 h 153"/>
              <a:gd name="T44" fmla="*/ 2147483647 w 114"/>
              <a:gd name="T45" fmla="*/ 2147483647 h 153"/>
              <a:gd name="T46" fmla="*/ 2147483647 w 114"/>
              <a:gd name="T47" fmla="*/ 2147483647 h 153"/>
              <a:gd name="T48" fmla="*/ 2147483647 w 114"/>
              <a:gd name="T49" fmla="*/ 2147483647 h 153"/>
              <a:gd name="T50" fmla="*/ 2147483647 w 114"/>
              <a:gd name="T51" fmla="*/ 2147483647 h 153"/>
              <a:gd name="T52" fmla="*/ 2147483647 w 114"/>
              <a:gd name="T53" fmla="*/ 2147483647 h 153"/>
              <a:gd name="T54" fmla="*/ 2147483647 w 114"/>
              <a:gd name="T55" fmla="*/ 2147483647 h 153"/>
              <a:gd name="T56" fmla="*/ 2147483647 w 114"/>
              <a:gd name="T57" fmla="*/ 2147483647 h 153"/>
              <a:gd name="T58" fmla="*/ 2147483647 w 114"/>
              <a:gd name="T59" fmla="*/ 2147483647 h 153"/>
              <a:gd name="T60" fmla="*/ 2147483647 w 114"/>
              <a:gd name="T61" fmla="*/ 2147483647 h 153"/>
              <a:gd name="T62" fmla="*/ 2147483647 w 114"/>
              <a:gd name="T63" fmla="*/ 2147483647 h 153"/>
              <a:gd name="T64" fmla="*/ 2147483647 w 114"/>
              <a:gd name="T65" fmla="*/ 2147483647 h 153"/>
              <a:gd name="T66" fmla="*/ 2147483647 w 114"/>
              <a:gd name="T67" fmla="*/ 2147483647 h 153"/>
              <a:gd name="T68" fmla="*/ 2147483647 w 114"/>
              <a:gd name="T69" fmla="*/ 2147483647 h 153"/>
              <a:gd name="T70" fmla="*/ 2147483647 w 114"/>
              <a:gd name="T71" fmla="*/ 2147483647 h 153"/>
              <a:gd name="T72" fmla="*/ 2147483647 w 114"/>
              <a:gd name="T73" fmla="*/ 2147483647 h 153"/>
              <a:gd name="T74" fmla="*/ 2147483647 w 114"/>
              <a:gd name="T75" fmla="*/ 2147483647 h 153"/>
              <a:gd name="T76" fmla="*/ 2147483647 w 114"/>
              <a:gd name="T77" fmla="*/ 2147483647 h 153"/>
              <a:gd name="T78" fmla="*/ 2147483647 w 114"/>
              <a:gd name="T79" fmla="*/ 2147483647 h 153"/>
              <a:gd name="T80" fmla="*/ 2147483647 w 114"/>
              <a:gd name="T81" fmla="*/ 2147483647 h 153"/>
              <a:gd name="T82" fmla="*/ 2147483647 w 114"/>
              <a:gd name="T83" fmla="*/ 2147483647 h 153"/>
              <a:gd name="T84" fmla="*/ 2147483647 w 114"/>
              <a:gd name="T85" fmla="*/ 2147483647 h 153"/>
              <a:gd name="T86" fmla="*/ 2147483647 w 114"/>
              <a:gd name="T87" fmla="*/ 2147483647 h 153"/>
              <a:gd name="T88" fmla="*/ 2147483647 w 114"/>
              <a:gd name="T89" fmla="*/ 2147483647 h 153"/>
              <a:gd name="T90" fmla="*/ 2147483647 w 114"/>
              <a:gd name="T91" fmla="*/ 2147483647 h 153"/>
              <a:gd name="T92" fmla="*/ 2147483647 w 114"/>
              <a:gd name="T93" fmla="*/ 2147483647 h 153"/>
              <a:gd name="T94" fmla="*/ 2147483647 w 114"/>
              <a:gd name="T95" fmla="*/ 2147483647 h 153"/>
              <a:gd name="T96" fmla="*/ 2147483647 w 114"/>
              <a:gd name="T97" fmla="*/ 2147483647 h 153"/>
              <a:gd name="T98" fmla="*/ 2147483647 w 114"/>
              <a:gd name="T99" fmla="*/ 2147483647 h 153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14"/>
              <a:gd name="T151" fmla="*/ 0 h 153"/>
              <a:gd name="T152" fmla="*/ 114 w 114"/>
              <a:gd name="T153" fmla="*/ 153 h 153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14" h="153">
                <a:moveTo>
                  <a:pt x="37" y="39"/>
                </a:moveTo>
                <a:lnTo>
                  <a:pt x="33" y="42"/>
                </a:lnTo>
                <a:lnTo>
                  <a:pt x="36" y="45"/>
                </a:lnTo>
                <a:lnTo>
                  <a:pt x="35" y="48"/>
                </a:lnTo>
                <a:lnTo>
                  <a:pt x="33" y="49"/>
                </a:lnTo>
                <a:lnTo>
                  <a:pt x="31" y="53"/>
                </a:lnTo>
                <a:lnTo>
                  <a:pt x="32" y="56"/>
                </a:lnTo>
                <a:lnTo>
                  <a:pt x="32" y="58"/>
                </a:lnTo>
                <a:lnTo>
                  <a:pt x="31" y="61"/>
                </a:lnTo>
                <a:lnTo>
                  <a:pt x="23" y="65"/>
                </a:lnTo>
                <a:lnTo>
                  <a:pt x="20" y="65"/>
                </a:lnTo>
                <a:lnTo>
                  <a:pt x="11" y="67"/>
                </a:lnTo>
                <a:lnTo>
                  <a:pt x="6" y="72"/>
                </a:lnTo>
                <a:lnTo>
                  <a:pt x="3" y="71"/>
                </a:lnTo>
                <a:lnTo>
                  <a:pt x="4" y="76"/>
                </a:lnTo>
                <a:lnTo>
                  <a:pt x="4" y="80"/>
                </a:lnTo>
                <a:lnTo>
                  <a:pt x="1" y="84"/>
                </a:lnTo>
                <a:lnTo>
                  <a:pt x="0" y="87"/>
                </a:lnTo>
                <a:lnTo>
                  <a:pt x="3" y="92"/>
                </a:lnTo>
                <a:lnTo>
                  <a:pt x="8" y="91"/>
                </a:lnTo>
                <a:lnTo>
                  <a:pt x="16" y="95"/>
                </a:lnTo>
                <a:lnTo>
                  <a:pt x="19" y="104"/>
                </a:lnTo>
                <a:lnTo>
                  <a:pt x="28" y="102"/>
                </a:lnTo>
                <a:lnTo>
                  <a:pt x="34" y="105"/>
                </a:lnTo>
                <a:lnTo>
                  <a:pt x="36" y="113"/>
                </a:lnTo>
                <a:lnTo>
                  <a:pt x="37" y="124"/>
                </a:lnTo>
                <a:lnTo>
                  <a:pt x="43" y="124"/>
                </a:lnTo>
                <a:lnTo>
                  <a:pt x="55" y="131"/>
                </a:lnTo>
                <a:lnTo>
                  <a:pt x="61" y="135"/>
                </a:lnTo>
                <a:lnTo>
                  <a:pt x="66" y="143"/>
                </a:lnTo>
                <a:lnTo>
                  <a:pt x="76" y="144"/>
                </a:lnTo>
                <a:lnTo>
                  <a:pt x="82" y="138"/>
                </a:lnTo>
                <a:lnTo>
                  <a:pt x="86" y="144"/>
                </a:lnTo>
                <a:lnTo>
                  <a:pt x="91" y="143"/>
                </a:lnTo>
                <a:lnTo>
                  <a:pt x="93" y="150"/>
                </a:lnTo>
                <a:lnTo>
                  <a:pt x="99" y="150"/>
                </a:lnTo>
                <a:lnTo>
                  <a:pt x="102" y="153"/>
                </a:lnTo>
                <a:lnTo>
                  <a:pt x="108" y="144"/>
                </a:lnTo>
                <a:lnTo>
                  <a:pt x="107" y="138"/>
                </a:lnTo>
                <a:lnTo>
                  <a:pt x="114" y="132"/>
                </a:lnTo>
                <a:lnTo>
                  <a:pt x="113" y="125"/>
                </a:lnTo>
                <a:lnTo>
                  <a:pt x="107" y="121"/>
                </a:lnTo>
                <a:lnTo>
                  <a:pt x="108" y="113"/>
                </a:lnTo>
                <a:lnTo>
                  <a:pt x="104" y="109"/>
                </a:lnTo>
                <a:lnTo>
                  <a:pt x="104" y="103"/>
                </a:lnTo>
                <a:lnTo>
                  <a:pt x="106" y="99"/>
                </a:lnTo>
                <a:lnTo>
                  <a:pt x="102" y="95"/>
                </a:lnTo>
                <a:lnTo>
                  <a:pt x="102" y="89"/>
                </a:lnTo>
                <a:lnTo>
                  <a:pt x="100" y="83"/>
                </a:lnTo>
                <a:lnTo>
                  <a:pt x="105" y="81"/>
                </a:lnTo>
                <a:lnTo>
                  <a:pt x="109" y="75"/>
                </a:lnTo>
                <a:lnTo>
                  <a:pt x="108" y="66"/>
                </a:lnTo>
                <a:lnTo>
                  <a:pt x="102" y="66"/>
                </a:lnTo>
                <a:lnTo>
                  <a:pt x="96" y="61"/>
                </a:lnTo>
                <a:lnTo>
                  <a:pt x="97" y="54"/>
                </a:lnTo>
                <a:lnTo>
                  <a:pt x="105" y="49"/>
                </a:lnTo>
                <a:lnTo>
                  <a:pt x="107" y="43"/>
                </a:lnTo>
                <a:lnTo>
                  <a:pt x="104" y="39"/>
                </a:lnTo>
                <a:lnTo>
                  <a:pt x="104" y="35"/>
                </a:lnTo>
                <a:lnTo>
                  <a:pt x="107" y="34"/>
                </a:lnTo>
                <a:lnTo>
                  <a:pt x="104" y="26"/>
                </a:lnTo>
                <a:lnTo>
                  <a:pt x="103" y="20"/>
                </a:lnTo>
                <a:lnTo>
                  <a:pt x="98" y="23"/>
                </a:lnTo>
                <a:lnTo>
                  <a:pt x="101" y="26"/>
                </a:lnTo>
                <a:lnTo>
                  <a:pt x="100" y="30"/>
                </a:lnTo>
                <a:lnTo>
                  <a:pt x="95" y="27"/>
                </a:lnTo>
                <a:lnTo>
                  <a:pt x="94" y="32"/>
                </a:lnTo>
                <a:lnTo>
                  <a:pt x="99" y="36"/>
                </a:lnTo>
                <a:lnTo>
                  <a:pt x="99" y="41"/>
                </a:lnTo>
                <a:lnTo>
                  <a:pt x="90" y="33"/>
                </a:lnTo>
                <a:lnTo>
                  <a:pt x="90" y="28"/>
                </a:lnTo>
                <a:lnTo>
                  <a:pt x="94" y="24"/>
                </a:lnTo>
                <a:lnTo>
                  <a:pt x="94" y="17"/>
                </a:lnTo>
                <a:lnTo>
                  <a:pt x="94" y="10"/>
                </a:lnTo>
                <a:lnTo>
                  <a:pt x="90" y="9"/>
                </a:lnTo>
                <a:lnTo>
                  <a:pt x="91" y="14"/>
                </a:lnTo>
                <a:lnTo>
                  <a:pt x="92" y="16"/>
                </a:lnTo>
                <a:lnTo>
                  <a:pt x="91" y="19"/>
                </a:lnTo>
                <a:lnTo>
                  <a:pt x="90" y="22"/>
                </a:lnTo>
                <a:lnTo>
                  <a:pt x="85" y="24"/>
                </a:lnTo>
                <a:lnTo>
                  <a:pt x="81" y="30"/>
                </a:lnTo>
                <a:lnTo>
                  <a:pt x="82" y="40"/>
                </a:lnTo>
                <a:lnTo>
                  <a:pt x="74" y="52"/>
                </a:lnTo>
                <a:lnTo>
                  <a:pt x="75" y="59"/>
                </a:lnTo>
                <a:lnTo>
                  <a:pt x="83" y="61"/>
                </a:lnTo>
                <a:lnTo>
                  <a:pt x="88" y="66"/>
                </a:lnTo>
                <a:lnTo>
                  <a:pt x="89" y="72"/>
                </a:lnTo>
                <a:lnTo>
                  <a:pt x="87" y="75"/>
                </a:lnTo>
                <a:lnTo>
                  <a:pt x="84" y="79"/>
                </a:lnTo>
                <a:lnTo>
                  <a:pt x="85" y="81"/>
                </a:lnTo>
                <a:lnTo>
                  <a:pt x="88" y="81"/>
                </a:lnTo>
                <a:lnTo>
                  <a:pt x="83" y="83"/>
                </a:lnTo>
                <a:lnTo>
                  <a:pt x="82" y="80"/>
                </a:lnTo>
                <a:lnTo>
                  <a:pt x="83" y="75"/>
                </a:lnTo>
                <a:lnTo>
                  <a:pt x="85" y="71"/>
                </a:lnTo>
                <a:lnTo>
                  <a:pt x="85" y="67"/>
                </a:lnTo>
                <a:lnTo>
                  <a:pt x="83" y="63"/>
                </a:lnTo>
                <a:lnTo>
                  <a:pt x="75" y="62"/>
                </a:lnTo>
                <a:lnTo>
                  <a:pt x="71" y="65"/>
                </a:lnTo>
                <a:lnTo>
                  <a:pt x="71" y="75"/>
                </a:lnTo>
                <a:lnTo>
                  <a:pt x="67" y="76"/>
                </a:lnTo>
                <a:lnTo>
                  <a:pt x="66" y="82"/>
                </a:lnTo>
                <a:lnTo>
                  <a:pt x="58" y="83"/>
                </a:lnTo>
                <a:lnTo>
                  <a:pt x="55" y="90"/>
                </a:lnTo>
                <a:lnTo>
                  <a:pt x="46" y="84"/>
                </a:lnTo>
                <a:lnTo>
                  <a:pt x="40" y="80"/>
                </a:lnTo>
                <a:lnTo>
                  <a:pt x="40" y="75"/>
                </a:lnTo>
                <a:lnTo>
                  <a:pt x="42" y="77"/>
                </a:lnTo>
                <a:lnTo>
                  <a:pt x="48" y="80"/>
                </a:lnTo>
                <a:lnTo>
                  <a:pt x="53" y="80"/>
                </a:lnTo>
                <a:lnTo>
                  <a:pt x="59" y="76"/>
                </a:lnTo>
                <a:lnTo>
                  <a:pt x="64" y="73"/>
                </a:lnTo>
                <a:lnTo>
                  <a:pt x="67" y="67"/>
                </a:lnTo>
                <a:lnTo>
                  <a:pt x="69" y="62"/>
                </a:lnTo>
                <a:lnTo>
                  <a:pt x="67" y="57"/>
                </a:lnTo>
                <a:lnTo>
                  <a:pt x="72" y="48"/>
                </a:lnTo>
                <a:lnTo>
                  <a:pt x="75" y="40"/>
                </a:lnTo>
                <a:lnTo>
                  <a:pt x="76" y="35"/>
                </a:lnTo>
                <a:lnTo>
                  <a:pt x="78" y="31"/>
                </a:lnTo>
                <a:lnTo>
                  <a:pt x="76" y="27"/>
                </a:lnTo>
                <a:lnTo>
                  <a:pt x="79" y="25"/>
                </a:lnTo>
                <a:lnTo>
                  <a:pt x="80" y="21"/>
                </a:lnTo>
                <a:lnTo>
                  <a:pt x="83" y="21"/>
                </a:lnTo>
                <a:lnTo>
                  <a:pt x="84" y="15"/>
                </a:lnTo>
                <a:lnTo>
                  <a:pt x="83" y="11"/>
                </a:lnTo>
                <a:lnTo>
                  <a:pt x="80" y="9"/>
                </a:lnTo>
                <a:lnTo>
                  <a:pt x="81" y="7"/>
                </a:lnTo>
                <a:lnTo>
                  <a:pt x="84" y="7"/>
                </a:lnTo>
                <a:lnTo>
                  <a:pt x="84" y="4"/>
                </a:lnTo>
                <a:lnTo>
                  <a:pt x="82" y="0"/>
                </a:lnTo>
                <a:lnTo>
                  <a:pt x="77" y="1"/>
                </a:lnTo>
                <a:lnTo>
                  <a:pt x="76" y="3"/>
                </a:lnTo>
                <a:lnTo>
                  <a:pt x="79" y="5"/>
                </a:lnTo>
                <a:lnTo>
                  <a:pt x="75" y="5"/>
                </a:lnTo>
                <a:lnTo>
                  <a:pt x="69" y="12"/>
                </a:lnTo>
                <a:lnTo>
                  <a:pt x="64" y="19"/>
                </a:lnTo>
                <a:lnTo>
                  <a:pt x="54" y="19"/>
                </a:lnTo>
                <a:lnTo>
                  <a:pt x="51" y="25"/>
                </a:lnTo>
                <a:lnTo>
                  <a:pt x="54" y="28"/>
                </a:lnTo>
                <a:lnTo>
                  <a:pt x="53" y="32"/>
                </a:lnTo>
                <a:lnTo>
                  <a:pt x="51" y="36"/>
                </a:lnTo>
                <a:lnTo>
                  <a:pt x="47" y="35"/>
                </a:lnTo>
                <a:lnTo>
                  <a:pt x="46" y="37"/>
                </a:lnTo>
                <a:lnTo>
                  <a:pt x="50" y="42"/>
                </a:lnTo>
                <a:lnTo>
                  <a:pt x="50" y="45"/>
                </a:lnTo>
                <a:lnTo>
                  <a:pt x="48" y="48"/>
                </a:lnTo>
                <a:lnTo>
                  <a:pt x="51" y="51"/>
                </a:lnTo>
                <a:lnTo>
                  <a:pt x="48" y="55"/>
                </a:lnTo>
                <a:lnTo>
                  <a:pt x="44" y="58"/>
                </a:lnTo>
                <a:lnTo>
                  <a:pt x="44" y="51"/>
                </a:lnTo>
                <a:lnTo>
                  <a:pt x="41" y="46"/>
                </a:lnTo>
                <a:lnTo>
                  <a:pt x="37" y="39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 anchor="b"/>
          <a:lstStyle/>
          <a:p>
            <a:endParaRPr lang="ru-RU"/>
          </a:p>
        </p:txBody>
      </p:sp>
      <p:sp>
        <p:nvSpPr>
          <p:cNvPr id="75" name="Freeform 65"/>
          <p:cNvSpPr>
            <a:spLocks/>
          </p:cNvSpPr>
          <p:nvPr/>
        </p:nvSpPr>
        <p:spPr bwMode="auto">
          <a:xfrm>
            <a:off x="4898582" y="2187574"/>
            <a:ext cx="847725" cy="533400"/>
          </a:xfrm>
          <a:custGeom>
            <a:avLst/>
            <a:gdLst>
              <a:gd name="T0" fmla="*/ 2147483647 w 89"/>
              <a:gd name="T1" fmla="*/ 2147483647 h 56"/>
              <a:gd name="T2" fmla="*/ 2147483647 w 89"/>
              <a:gd name="T3" fmla="*/ 2147483647 h 56"/>
              <a:gd name="T4" fmla="*/ 2147483647 w 89"/>
              <a:gd name="T5" fmla="*/ 2147483647 h 56"/>
              <a:gd name="T6" fmla="*/ 2147483647 w 89"/>
              <a:gd name="T7" fmla="*/ 2147483647 h 56"/>
              <a:gd name="T8" fmla="*/ 2147483647 w 89"/>
              <a:gd name="T9" fmla="*/ 2147483647 h 56"/>
              <a:gd name="T10" fmla="*/ 2147483647 w 89"/>
              <a:gd name="T11" fmla="*/ 2147483647 h 56"/>
              <a:gd name="T12" fmla="*/ 2147483647 w 89"/>
              <a:gd name="T13" fmla="*/ 2147483647 h 56"/>
              <a:gd name="T14" fmla="*/ 2147483647 w 89"/>
              <a:gd name="T15" fmla="*/ 2147483647 h 56"/>
              <a:gd name="T16" fmla="*/ 2147483647 w 89"/>
              <a:gd name="T17" fmla="*/ 2147483647 h 56"/>
              <a:gd name="T18" fmla="*/ 2147483647 w 89"/>
              <a:gd name="T19" fmla="*/ 2147483647 h 56"/>
              <a:gd name="T20" fmla="*/ 2147483647 w 89"/>
              <a:gd name="T21" fmla="*/ 2147483647 h 56"/>
              <a:gd name="T22" fmla="*/ 2147483647 w 89"/>
              <a:gd name="T23" fmla="*/ 2147483647 h 56"/>
              <a:gd name="T24" fmla="*/ 2147483647 w 89"/>
              <a:gd name="T25" fmla="*/ 2147483647 h 56"/>
              <a:gd name="T26" fmla="*/ 2147483647 w 89"/>
              <a:gd name="T27" fmla="*/ 2147483647 h 56"/>
              <a:gd name="T28" fmla="*/ 2147483647 w 89"/>
              <a:gd name="T29" fmla="*/ 2147483647 h 56"/>
              <a:gd name="T30" fmla="*/ 2147483647 w 89"/>
              <a:gd name="T31" fmla="*/ 2147483647 h 56"/>
              <a:gd name="T32" fmla="*/ 2147483647 w 89"/>
              <a:gd name="T33" fmla="*/ 2147483647 h 56"/>
              <a:gd name="T34" fmla="*/ 2147483647 w 89"/>
              <a:gd name="T35" fmla="*/ 2147483647 h 56"/>
              <a:gd name="T36" fmla="*/ 2147483647 w 89"/>
              <a:gd name="T37" fmla="*/ 2147483647 h 56"/>
              <a:gd name="T38" fmla="*/ 2147483647 w 89"/>
              <a:gd name="T39" fmla="*/ 2147483647 h 56"/>
              <a:gd name="T40" fmla="*/ 2147483647 w 89"/>
              <a:gd name="T41" fmla="*/ 2147483647 h 56"/>
              <a:gd name="T42" fmla="*/ 2147483647 w 89"/>
              <a:gd name="T43" fmla="*/ 2147483647 h 56"/>
              <a:gd name="T44" fmla="*/ 2147483647 w 89"/>
              <a:gd name="T45" fmla="*/ 2147483647 h 56"/>
              <a:gd name="T46" fmla="*/ 2147483647 w 89"/>
              <a:gd name="T47" fmla="*/ 0 h 56"/>
              <a:gd name="T48" fmla="*/ 2147483647 w 89"/>
              <a:gd name="T49" fmla="*/ 2147483647 h 56"/>
              <a:gd name="T50" fmla="*/ 2147483647 w 89"/>
              <a:gd name="T51" fmla="*/ 2147483647 h 56"/>
              <a:gd name="T52" fmla="*/ 2147483647 w 89"/>
              <a:gd name="T53" fmla="*/ 2147483647 h 56"/>
              <a:gd name="T54" fmla="*/ 2147483647 w 89"/>
              <a:gd name="T55" fmla="*/ 2147483647 h 56"/>
              <a:gd name="T56" fmla="*/ 2147483647 w 89"/>
              <a:gd name="T57" fmla="*/ 0 h 56"/>
              <a:gd name="T58" fmla="*/ 2147483647 w 89"/>
              <a:gd name="T59" fmla="*/ 2147483647 h 56"/>
              <a:gd name="T60" fmla="*/ 2147483647 w 89"/>
              <a:gd name="T61" fmla="*/ 0 h 56"/>
              <a:gd name="T62" fmla="*/ 2147483647 w 89"/>
              <a:gd name="T63" fmla="*/ 2147483647 h 56"/>
              <a:gd name="T64" fmla="*/ 2147483647 w 89"/>
              <a:gd name="T65" fmla="*/ 2147483647 h 56"/>
              <a:gd name="T66" fmla="*/ 2147483647 w 89"/>
              <a:gd name="T67" fmla="*/ 2147483647 h 56"/>
              <a:gd name="T68" fmla="*/ 2147483647 w 89"/>
              <a:gd name="T69" fmla="*/ 2147483647 h 56"/>
              <a:gd name="T70" fmla="*/ 2147483647 w 89"/>
              <a:gd name="T71" fmla="*/ 2147483647 h 56"/>
              <a:gd name="T72" fmla="*/ 2147483647 w 89"/>
              <a:gd name="T73" fmla="*/ 2147483647 h 56"/>
              <a:gd name="T74" fmla="*/ 2147483647 w 89"/>
              <a:gd name="T75" fmla="*/ 2147483647 h 56"/>
              <a:gd name="T76" fmla="*/ 2147483647 w 89"/>
              <a:gd name="T77" fmla="*/ 2147483647 h 56"/>
              <a:gd name="T78" fmla="*/ 2147483647 w 89"/>
              <a:gd name="T79" fmla="*/ 2147483647 h 56"/>
              <a:gd name="T80" fmla="*/ 2147483647 w 89"/>
              <a:gd name="T81" fmla="*/ 2147483647 h 56"/>
              <a:gd name="T82" fmla="*/ 2147483647 w 89"/>
              <a:gd name="T83" fmla="*/ 2147483647 h 56"/>
              <a:gd name="T84" fmla="*/ 2147483647 w 89"/>
              <a:gd name="T85" fmla="*/ 2147483647 h 56"/>
              <a:gd name="T86" fmla="*/ 2147483647 w 89"/>
              <a:gd name="T87" fmla="*/ 2147483647 h 56"/>
              <a:gd name="T88" fmla="*/ 2147483647 w 89"/>
              <a:gd name="T89" fmla="*/ 2147483647 h 56"/>
              <a:gd name="T90" fmla="*/ 2147483647 w 89"/>
              <a:gd name="T91" fmla="*/ 2147483647 h 56"/>
              <a:gd name="T92" fmla="*/ 2147483647 w 89"/>
              <a:gd name="T93" fmla="*/ 2147483647 h 56"/>
              <a:gd name="T94" fmla="*/ 0 w 89"/>
              <a:gd name="T95" fmla="*/ 2147483647 h 56"/>
              <a:gd name="T96" fmla="*/ 2147483647 w 89"/>
              <a:gd name="T97" fmla="*/ 2147483647 h 56"/>
              <a:gd name="T98" fmla="*/ 0 w 89"/>
              <a:gd name="T99" fmla="*/ 2147483647 h 56"/>
              <a:gd name="T100" fmla="*/ 0 w 89"/>
              <a:gd name="T101" fmla="*/ 2147483647 h 56"/>
              <a:gd name="T102" fmla="*/ 2147483647 w 89"/>
              <a:gd name="T103" fmla="*/ 2147483647 h 56"/>
              <a:gd name="T104" fmla="*/ 2147483647 w 89"/>
              <a:gd name="T105" fmla="*/ 2147483647 h 56"/>
              <a:gd name="T106" fmla="*/ 2147483647 w 89"/>
              <a:gd name="T107" fmla="*/ 2147483647 h 5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89"/>
              <a:gd name="T163" fmla="*/ 0 h 56"/>
              <a:gd name="T164" fmla="*/ 89 w 89"/>
              <a:gd name="T165" fmla="*/ 56 h 5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89" h="56">
                <a:moveTo>
                  <a:pt x="2" y="43"/>
                </a:moveTo>
                <a:lnTo>
                  <a:pt x="5" y="51"/>
                </a:lnTo>
                <a:lnTo>
                  <a:pt x="7" y="50"/>
                </a:lnTo>
                <a:lnTo>
                  <a:pt x="7" y="52"/>
                </a:lnTo>
                <a:lnTo>
                  <a:pt x="9" y="52"/>
                </a:lnTo>
                <a:lnTo>
                  <a:pt x="10" y="54"/>
                </a:lnTo>
                <a:lnTo>
                  <a:pt x="12" y="54"/>
                </a:lnTo>
                <a:lnTo>
                  <a:pt x="13" y="56"/>
                </a:lnTo>
                <a:lnTo>
                  <a:pt x="14" y="56"/>
                </a:lnTo>
                <a:lnTo>
                  <a:pt x="14" y="52"/>
                </a:lnTo>
                <a:lnTo>
                  <a:pt x="14" y="48"/>
                </a:lnTo>
                <a:lnTo>
                  <a:pt x="13" y="44"/>
                </a:lnTo>
                <a:lnTo>
                  <a:pt x="15" y="39"/>
                </a:lnTo>
                <a:lnTo>
                  <a:pt x="16" y="35"/>
                </a:lnTo>
                <a:lnTo>
                  <a:pt x="19" y="34"/>
                </a:lnTo>
                <a:lnTo>
                  <a:pt x="20" y="30"/>
                </a:lnTo>
                <a:lnTo>
                  <a:pt x="22" y="29"/>
                </a:lnTo>
                <a:lnTo>
                  <a:pt x="25" y="30"/>
                </a:lnTo>
                <a:lnTo>
                  <a:pt x="26" y="28"/>
                </a:lnTo>
                <a:lnTo>
                  <a:pt x="28" y="26"/>
                </a:lnTo>
                <a:lnTo>
                  <a:pt x="26" y="22"/>
                </a:lnTo>
                <a:lnTo>
                  <a:pt x="29" y="25"/>
                </a:lnTo>
                <a:lnTo>
                  <a:pt x="31" y="26"/>
                </a:lnTo>
                <a:lnTo>
                  <a:pt x="33" y="25"/>
                </a:lnTo>
                <a:lnTo>
                  <a:pt x="34" y="22"/>
                </a:lnTo>
                <a:lnTo>
                  <a:pt x="37" y="22"/>
                </a:lnTo>
                <a:lnTo>
                  <a:pt x="38" y="20"/>
                </a:lnTo>
                <a:lnTo>
                  <a:pt x="40" y="18"/>
                </a:lnTo>
                <a:lnTo>
                  <a:pt x="41" y="21"/>
                </a:lnTo>
                <a:lnTo>
                  <a:pt x="43" y="20"/>
                </a:lnTo>
                <a:lnTo>
                  <a:pt x="44" y="18"/>
                </a:lnTo>
                <a:lnTo>
                  <a:pt x="44" y="14"/>
                </a:lnTo>
                <a:lnTo>
                  <a:pt x="45" y="14"/>
                </a:lnTo>
                <a:lnTo>
                  <a:pt x="46" y="17"/>
                </a:lnTo>
                <a:lnTo>
                  <a:pt x="47" y="17"/>
                </a:lnTo>
                <a:lnTo>
                  <a:pt x="49" y="14"/>
                </a:lnTo>
                <a:lnTo>
                  <a:pt x="52" y="17"/>
                </a:lnTo>
                <a:lnTo>
                  <a:pt x="55" y="15"/>
                </a:lnTo>
                <a:lnTo>
                  <a:pt x="57" y="12"/>
                </a:lnTo>
                <a:lnTo>
                  <a:pt x="63" y="12"/>
                </a:lnTo>
                <a:lnTo>
                  <a:pt x="72" y="12"/>
                </a:lnTo>
                <a:lnTo>
                  <a:pt x="79" y="13"/>
                </a:lnTo>
                <a:lnTo>
                  <a:pt x="83" y="12"/>
                </a:lnTo>
                <a:lnTo>
                  <a:pt x="85" y="10"/>
                </a:lnTo>
                <a:lnTo>
                  <a:pt x="89" y="8"/>
                </a:lnTo>
                <a:lnTo>
                  <a:pt x="89" y="5"/>
                </a:lnTo>
                <a:lnTo>
                  <a:pt x="88" y="2"/>
                </a:lnTo>
                <a:lnTo>
                  <a:pt x="86" y="0"/>
                </a:lnTo>
                <a:lnTo>
                  <a:pt x="84" y="0"/>
                </a:lnTo>
                <a:lnTo>
                  <a:pt x="84" y="3"/>
                </a:lnTo>
                <a:lnTo>
                  <a:pt x="82" y="0"/>
                </a:lnTo>
                <a:lnTo>
                  <a:pt x="78" y="1"/>
                </a:lnTo>
                <a:lnTo>
                  <a:pt x="79" y="5"/>
                </a:lnTo>
                <a:lnTo>
                  <a:pt x="74" y="4"/>
                </a:lnTo>
                <a:lnTo>
                  <a:pt x="73" y="3"/>
                </a:lnTo>
                <a:lnTo>
                  <a:pt x="68" y="3"/>
                </a:lnTo>
                <a:lnTo>
                  <a:pt x="64" y="0"/>
                </a:lnTo>
                <a:lnTo>
                  <a:pt x="62" y="0"/>
                </a:lnTo>
                <a:lnTo>
                  <a:pt x="61" y="1"/>
                </a:lnTo>
                <a:lnTo>
                  <a:pt x="58" y="1"/>
                </a:lnTo>
                <a:lnTo>
                  <a:pt x="55" y="0"/>
                </a:lnTo>
                <a:lnTo>
                  <a:pt x="53" y="0"/>
                </a:lnTo>
                <a:lnTo>
                  <a:pt x="51" y="2"/>
                </a:lnTo>
                <a:lnTo>
                  <a:pt x="49" y="3"/>
                </a:lnTo>
                <a:lnTo>
                  <a:pt x="46" y="3"/>
                </a:lnTo>
                <a:lnTo>
                  <a:pt x="45" y="3"/>
                </a:lnTo>
                <a:lnTo>
                  <a:pt x="45" y="6"/>
                </a:lnTo>
                <a:lnTo>
                  <a:pt x="43" y="5"/>
                </a:lnTo>
                <a:lnTo>
                  <a:pt x="42" y="2"/>
                </a:lnTo>
                <a:lnTo>
                  <a:pt x="41" y="2"/>
                </a:lnTo>
                <a:lnTo>
                  <a:pt x="40" y="5"/>
                </a:lnTo>
                <a:lnTo>
                  <a:pt x="40" y="9"/>
                </a:lnTo>
                <a:lnTo>
                  <a:pt x="37" y="8"/>
                </a:lnTo>
                <a:lnTo>
                  <a:pt x="37" y="11"/>
                </a:lnTo>
                <a:lnTo>
                  <a:pt x="31" y="11"/>
                </a:lnTo>
                <a:lnTo>
                  <a:pt x="29" y="13"/>
                </a:lnTo>
                <a:lnTo>
                  <a:pt x="25" y="12"/>
                </a:lnTo>
                <a:lnTo>
                  <a:pt x="23" y="13"/>
                </a:lnTo>
                <a:lnTo>
                  <a:pt x="23" y="16"/>
                </a:lnTo>
                <a:lnTo>
                  <a:pt x="26" y="16"/>
                </a:lnTo>
                <a:lnTo>
                  <a:pt x="26" y="17"/>
                </a:lnTo>
                <a:lnTo>
                  <a:pt x="24" y="19"/>
                </a:lnTo>
                <a:lnTo>
                  <a:pt x="24" y="20"/>
                </a:lnTo>
                <a:lnTo>
                  <a:pt x="22" y="19"/>
                </a:lnTo>
                <a:lnTo>
                  <a:pt x="19" y="17"/>
                </a:lnTo>
                <a:lnTo>
                  <a:pt x="17" y="17"/>
                </a:lnTo>
                <a:lnTo>
                  <a:pt x="17" y="20"/>
                </a:lnTo>
                <a:lnTo>
                  <a:pt x="15" y="20"/>
                </a:lnTo>
                <a:lnTo>
                  <a:pt x="13" y="20"/>
                </a:lnTo>
                <a:lnTo>
                  <a:pt x="12" y="22"/>
                </a:lnTo>
                <a:lnTo>
                  <a:pt x="13" y="24"/>
                </a:lnTo>
                <a:lnTo>
                  <a:pt x="11" y="25"/>
                </a:lnTo>
                <a:lnTo>
                  <a:pt x="9" y="27"/>
                </a:lnTo>
                <a:lnTo>
                  <a:pt x="5" y="25"/>
                </a:lnTo>
                <a:lnTo>
                  <a:pt x="3" y="26"/>
                </a:lnTo>
                <a:lnTo>
                  <a:pt x="0" y="30"/>
                </a:lnTo>
                <a:lnTo>
                  <a:pt x="1" y="32"/>
                </a:lnTo>
                <a:lnTo>
                  <a:pt x="2" y="34"/>
                </a:lnTo>
                <a:lnTo>
                  <a:pt x="4" y="35"/>
                </a:lnTo>
                <a:lnTo>
                  <a:pt x="0" y="35"/>
                </a:lnTo>
                <a:lnTo>
                  <a:pt x="0" y="39"/>
                </a:lnTo>
                <a:lnTo>
                  <a:pt x="0" y="43"/>
                </a:lnTo>
                <a:lnTo>
                  <a:pt x="2" y="41"/>
                </a:lnTo>
                <a:lnTo>
                  <a:pt x="3" y="39"/>
                </a:lnTo>
                <a:lnTo>
                  <a:pt x="3" y="37"/>
                </a:lnTo>
                <a:lnTo>
                  <a:pt x="4" y="37"/>
                </a:lnTo>
                <a:lnTo>
                  <a:pt x="5" y="40"/>
                </a:lnTo>
                <a:lnTo>
                  <a:pt x="4" y="42"/>
                </a:lnTo>
                <a:cubicBezTo>
                  <a:pt x="4" y="42"/>
                  <a:pt x="2" y="44"/>
                  <a:pt x="2" y="43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76" name="Freeform 66"/>
          <p:cNvSpPr>
            <a:spLocks/>
          </p:cNvSpPr>
          <p:nvPr/>
        </p:nvSpPr>
        <p:spPr bwMode="auto">
          <a:xfrm>
            <a:off x="4536632" y="3301999"/>
            <a:ext cx="1333500" cy="1066800"/>
          </a:xfrm>
          <a:custGeom>
            <a:avLst/>
            <a:gdLst>
              <a:gd name="T0" fmla="*/ 2147483647 w 140"/>
              <a:gd name="T1" fmla="*/ 2147483647 h 112"/>
              <a:gd name="T2" fmla="*/ 2147483647 w 140"/>
              <a:gd name="T3" fmla="*/ 2147483647 h 112"/>
              <a:gd name="T4" fmla="*/ 2147483647 w 140"/>
              <a:gd name="T5" fmla="*/ 2147483647 h 112"/>
              <a:gd name="T6" fmla="*/ 2147483647 w 140"/>
              <a:gd name="T7" fmla="*/ 2147483647 h 112"/>
              <a:gd name="T8" fmla="*/ 2147483647 w 140"/>
              <a:gd name="T9" fmla="*/ 2147483647 h 112"/>
              <a:gd name="T10" fmla="*/ 2147483647 w 140"/>
              <a:gd name="T11" fmla="*/ 2147483647 h 112"/>
              <a:gd name="T12" fmla="*/ 2147483647 w 140"/>
              <a:gd name="T13" fmla="*/ 2147483647 h 112"/>
              <a:gd name="T14" fmla="*/ 2147483647 w 140"/>
              <a:gd name="T15" fmla="*/ 2147483647 h 112"/>
              <a:gd name="T16" fmla="*/ 2147483647 w 140"/>
              <a:gd name="T17" fmla="*/ 2147483647 h 112"/>
              <a:gd name="T18" fmla="*/ 2147483647 w 140"/>
              <a:gd name="T19" fmla="*/ 2147483647 h 112"/>
              <a:gd name="T20" fmla="*/ 2147483647 w 140"/>
              <a:gd name="T21" fmla="*/ 2147483647 h 112"/>
              <a:gd name="T22" fmla="*/ 2147483647 w 140"/>
              <a:gd name="T23" fmla="*/ 2147483647 h 112"/>
              <a:gd name="T24" fmla="*/ 2147483647 w 140"/>
              <a:gd name="T25" fmla="*/ 2147483647 h 112"/>
              <a:gd name="T26" fmla="*/ 2147483647 w 140"/>
              <a:gd name="T27" fmla="*/ 2147483647 h 112"/>
              <a:gd name="T28" fmla="*/ 2147483647 w 140"/>
              <a:gd name="T29" fmla="*/ 2147483647 h 112"/>
              <a:gd name="T30" fmla="*/ 2147483647 w 140"/>
              <a:gd name="T31" fmla="*/ 2147483647 h 112"/>
              <a:gd name="T32" fmla="*/ 2147483647 w 140"/>
              <a:gd name="T33" fmla="*/ 2147483647 h 112"/>
              <a:gd name="T34" fmla="*/ 2147483647 w 140"/>
              <a:gd name="T35" fmla="*/ 2147483647 h 112"/>
              <a:gd name="T36" fmla="*/ 2147483647 w 140"/>
              <a:gd name="T37" fmla="*/ 2147483647 h 112"/>
              <a:gd name="T38" fmla="*/ 2147483647 w 140"/>
              <a:gd name="T39" fmla="*/ 2147483647 h 112"/>
              <a:gd name="T40" fmla="*/ 2147483647 w 140"/>
              <a:gd name="T41" fmla="*/ 2147483647 h 112"/>
              <a:gd name="T42" fmla="*/ 2147483647 w 140"/>
              <a:gd name="T43" fmla="*/ 2147483647 h 112"/>
              <a:gd name="T44" fmla="*/ 2147483647 w 140"/>
              <a:gd name="T45" fmla="*/ 2147483647 h 112"/>
              <a:gd name="T46" fmla="*/ 2147483647 w 140"/>
              <a:gd name="T47" fmla="*/ 2147483647 h 112"/>
              <a:gd name="T48" fmla="*/ 2147483647 w 140"/>
              <a:gd name="T49" fmla="*/ 2147483647 h 112"/>
              <a:gd name="T50" fmla="*/ 2147483647 w 140"/>
              <a:gd name="T51" fmla="*/ 2147483647 h 112"/>
              <a:gd name="T52" fmla="*/ 2147483647 w 140"/>
              <a:gd name="T53" fmla="*/ 2147483647 h 112"/>
              <a:gd name="T54" fmla="*/ 2147483647 w 140"/>
              <a:gd name="T55" fmla="*/ 2147483647 h 112"/>
              <a:gd name="T56" fmla="*/ 2147483647 w 140"/>
              <a:gd name="T57" fmla="*/ 2147483647 h 112"/>
              <a:gd name="T58" fmla="*/ 2147483647 w 140"/>
              <a:gd name="T59" fmla="*/ 2147483647 h 112"/>
              <a:gd name="T60" fmla="*/ 2147483647 w 140"/>
              <a:gd name="T61" fmla="*/ 2147483647 h 112"/>
              <a:gd name="T62" fmla="*/ 2147483647 w 140"/>
              <a:gd name="T63" fmla="*/ 2147483647 h 112"/>
              <a:gd name="T64" fmla="*/ 2147483647 w 140"/>
              <a:gd name="T65" fmla="*/ 2147483647 h 112"/>
              <a:gd name="T66" fmla="*/ 2147483647 w 140"/>
              <a:gd name="T67" fmla="*/ 2147483647 h 112"/>
              <a:gd name="T68" fmla="*/ 2147483647 w 140"/>
              <a:gd name="T69" fmla="*/ 2147483647 h 112"/>
              <a:gd name="T70" fmla="*/ 2147483647 w 140"/>
              <a:gd name="T71" fmla="*/ 2147483647 h 112"/>
              <a:gd name="T72" fmla="*/ 2147483647 w 140"/>
              <a:gd name="T73" fmla="*/ 2147483647 h 112"/>
              <a:gd name="T74" fmla="*/ 2147483647 w 140"/>
              <a:gd name="T75" fmla="*/ 2147483647 h 112"/>
              <a:gd name="T76" fmla="*/ 2147483647 w 140"/>
              <a:gd name="T77" fmla="*/ 2147483647 h 11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40"/>
              <a:gd name="T118" fmla="*/ 0 h 112"/>
              <a:gd name="T119" fmla="*/ 140 w 140"/>
              <a:gd name="T120" fmla="*/ 112 h 112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40" h="112">
                <a:moveTo>
                  <a:pt x="135" y="83"/>
                </a:moveTo>
                <a:lnTo>
                  <a:pt x="132" y="80"/>
                </a:lnTo>
                <a:lnTo>
                  <a:pt x="126" y="80"/>
                </a:lnTo>
                <a:lnTo>
                  <a:pt x="124" y="73"/>
                </a:lnTo>
                <a:lnTo>
                  <a:pt x="119" y="74"/>
                </a:lnTo>
                <a:lnTo>
                  <a:pt x="115" y="68"/>
                </a:lnTo>
                <a:lnTo>
                  <a:pt x="109" y="74"/>
                </a:lnTo>
                <a:lnTo>
                  <a:pt x="99" y="73"/>
                </a:lnTo>
                <a:lnTo>
                  <a:pt x="94" y="65"/>
                </a:lnTo>
                <a:lnTo>
                  <a:pt x="88" y="61"/>
                </a:lnTo>
                <a:lnTo>
                  <a:pt x="76" y="54"/>
                </a:lnTo>
                <a:lnTo>
                  <a:pt x="70" y="54"/>
                </a:lnTo>
                <a:lnTo>
                  <a:pt x="69" y="43"/>
                </a:lnTo>
                <a:lnTo>
                  <a:pt x="67" y="35"/>
                </a:lnTo>
                <a:lnTo>
                  <a:pt x="61" y="32"/>
                </a:lnTo>
                <a:lnTo>
                  <a:pt x="52" y="34"/>
                </a:lnTo>
                <a:lnTo>
                  <a:pt x="49" y="25"/>
                </a:lnTo>
                <a:lnTo>
                  <a:pt x="41" y="21"/>
                </a:lnTo>
                <a:lnTo>
                  <a:pt x="36" y="22"/>
                </a:lnTo>
                <a:lnTo>
                  <a:pt x="33" y="17"/>
                </a:lnTo>
                <a:lnTo>
                  <a:pt x="34" y="14"/>
                </a:lnTo>
                <a:lnTo>
                  <a:pt x="37" y="10"/>
                </a:lnTo>
                <a:lnTo>
                  <a:pt x="37" y="6"/>
                </a:lnTo>
                <a:lnTo>
                  <a:pt x="36" y="1"/>
                </a:lnTo>
                <a:lnTo>
                  <a:pt x="32" y="0"/>
                </a:lnTo>
                <a:lnTo>
                  <a:pt x="29" y="4"/>
                </a:lnTo>
                <a:lnTo>
                  <a:pt x="26" y="6"/>
                </a:lnTo>
                <a:lnTo>
                  <a:pt x="24" y="2"/>
                </a:lnTo>
                <a:lnTo>
                  <a:pt x="21" y="2"/>
                </a:lnTo>
                <a:lnTo>
                  <a:pt x="14" y="9"/>
                </a:lnTo>
                <a:lnTo>
                  <a:pt x="16" y="14"/>
                </a:lnTo>
                <a:lnTo>
                  <a:pt x="12" y="17"/>
                </a:lnTo>
                <a:lnTo>
                  <a:pt x="7" y="19"/>
                </a:lnTo>
                <a:lnTo>
                  <a:pt x="4" y="25"/>
                </a:lnTo>
                <a:lnTo>
                  <a:pt x="0" y="35"/>
                </a:lnTo>
                <a:lnTo>
                  <a:pt x="2" y="37"/>
                </a:lnTo>
                <a:lnTo>
                  <a:pt x="6" y="41"/>
                </a:lnTo>
                <a:lnTo>
                  <a:pt x="10" y="47"/>
                </a:lnTo>
                <a:lnTo>
                  <a:pt x="13" y="50"/>
                </a:lnTo>
                <a:lnTo>
                  <a:pt x="12" y="53"/>
                </a:lnTo>
                <a:lnTo>
                  <a:pt x="9" y="59"/>
                </a:lnTo>
                <a:lnTo>
                  <a:pt x="10" y="68"/>
                </a:lnTo>
                <a:lnTo>
                  <a:pt x="8" y="76"/>
                </a:lnTo>
                <a:lnTo>
                  <a:pt x="13" y="78"/>
                </a:lnTo>
                <a:lnTo>
                  <a:pt x="12" y="83"/>
                </a:lnTo>
                <a:lnTo>
                  <a:pt x="12" y="90"/>
                </a:lnTo>
                <a:lnTo>
                  <a:pt x="14" y="92"/>
                </a:lnTo>
                <a:lnTo>
                  <a:pt x="20" y="89"/>
                </a:lnTo>
                <a:lnTo>
                  <a:pt x="28" y="89"/>
                </a:lnTo>
                <a:lnTo>
                  <a:pt x="34" y="85"/>
                </a:lnTo>
                <a:lnTo>
                  <a:pt x="38" y="86"/>
                </a:lnTo>
                <a:lnTo>
                  <a:pt x="40" y="84"/>
                </a:lnTo>
                <a:lnTo>
                  <a:pt x="45" y="87"/>
                </a:lnTo>
                <a:lnTo>
                  <a:pt x="50" y="88"/>
                </a:lnTo>
                <a:lnTo>
                  <a:pt x="53" y="94"/>
                </a:lnTo>
                <a:lnTo>
                  <a:pt x="56" y="101"/>
                </a:lnTo>
                <a:lnTo>
                  <a:pt x="59" y="106"/>
                </a:lnTo>
                <a:lnTo>
                  <a:pt x="65" y="108"/>
                </a:lnTo>
                <a:lnTo>
                  <a:pt x="67" y="112"/>
                </a:lnTo>
                <a:lnTo>
                  <a:pt x="74" y="107"/>
                </a:lnTo>
                <a:lnTo>
                  <a:pt x="75" y="103"/>
                </a:lnTo>
                <a:lnTo>
                  <a:pt x="81" y="104"/>
                </a:lnTo>
                <a:lnTo>
                  <a:pt x="83" y="97"/>
                </a:lnTo>
                <a:lnTo>
                  <a:pt x="83" y="95"/>
                </a:lnTo>
                <a:lnTo>
                  <a:pt x="89" y="92"/>
                </a:lnTo>
                <a:lnTo>
                  <a:pt x="94" y="93"/>
                </a:lnTo>
                <a:lnTo>
                  <a:pt x="99" y="96"/>
                </a:lnTo>
                <a:lnTo>
                  <a:pt x="108" y="96"/>
                </a:lnTo>
                <a:lnTo>
                  <a:pt x="115" y="101"/>
                </a:lnTo>
                <a:lnTo>
                  <a:pt x="118" y="101"/>
                </a:lnTo>
                <a:lnTo>
                  <a:pt x="123" y="97"/>
                </a:lnTo>
                <a:lnTo>
                  <a:pt x="127" y="97"/>
                </a:lnTo>
                <a:lnTo>
                  <a:pt x="127" y="100"/>
                </a:lnTo>
                <a:lnTo>
                  <a:pt x="135" y="98"/>
                </a:lnTo>
                <a:lnTo>
                  <a:pt x="140" y="98"/>
                </a:lnTo>
                <a:lnTo>
                  <a:pt x="140" y="94"/>
                </a:lnTo>
                <a:lnTo>
                  <a:pt x="133" y="90"/>
                </a:lnTo>
                <a:lnTo>
                  <a:pt x="135" y="83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 anchor="b"/>
          <a:lstStyle/>
          <a:p>
            <a:endParaRPr lang="ru-RU"/>
          </a:p>
        </p:txBody>
      </p:sp>
      <p:sp>
        <p:nvSpPr>
          <p:cNvPr id="77" name="Freeform 67"/>
          <p:cNvSpPr>
            <a:spLocks/>
          </p:cNvSpPr>
          <p:nvPr/>
        </p:nvSpPr>
        <p:spPr bwMode="auto">
          <a:xfrm>
            <a:off x="4508057" y="4102099"/>
            <a:ext cx="666750" cy="552450"/>
          </a:xfrm>
          <a:custGeom>
            <a:avLst/>
            <a:gdLst>
              <a:gd name="T0" fmla="*/ 2147483647 w 70"/>
              <a:gd name="T1" fmla="*/ 2147483647 h 58"/>
              <a:gd name="T2" fmla="*/ 2147483647 w 70"/>
              <a:gd name="T3" fmla="*/ 2147483647 h 58"/>
              <a:gd name="T4" fmla="*/ 2147483647 w 70"/>
              <a:gd name="T5" fmla="*/ 2147483647 h 58"/>
              <a:gd name="T6" fmla="*/ 2147483647 w 70"/>
              <a:gd name="T7" fmla="*/ 2147483647 h 58"/>
              <a:gd name="T8" fmla="*/ 2147483647 w 70"/>
              <a:gd name="T9" fmla="*/ 2147483647 h 58"/>
              <a:gd name="T10" fmla="*/ 2147483647 w 70"/>
              <a:gd name="T11" fmla="*/ 2147483647 h 58"/>
              <a:gd name="T12" fmla="*/ 2147483647 w 70"/>
              <a:gd name="T13" fmla="*/ 2147483647 h 58"/>
              <a:gd name="T14" fmla="*/ 2147483647 w 70"/>
              <a:gd name="T15" fmla="*/ 0 h 58"/>
              <a:gd name="T16" fmla="*/ 2147483647 w 70"/>
              <a:gd name="T17" fmla="*/ 2147483647 h 58"/>
              <a:gd name="T18" fmla="*/ 2147483647 w 70"/>
              <a:gd name="T19" fmla="*/ 2147483647 h 58"/>
              <a:gd name="T20" fmla="*/ 2147483647 w 70"/>
              <a:gd name="T21" fmla="*/ 2147483647 h 58"/>
              <a:gd name="T22" fmla="*/ 2147483647 w 70"/>
              <a:gd name="T23" fmla="*/ 2147483647 h 58"/>
              <a:gd name="T24" fmla="*/ 2147483647 w 70"/>
              <a:gd name="T25" fmla="*/ 2147483647 h 58"/>
              <a:gd name="T26" fmla="*/ 2147483647 w 70"/>
              <a:gd name="T27" fmla="*/ 2147483647 h 58"/>
              <a:gd name="T28" fmla="*/ 2147483647 w 70"/>
              <a:gd name="T29" fmla="*/ 2147483647 h 58"/>
              <a:gd name="T30" fmla="*/ 2147483647 w 70"/>
              <a:gd name="T31" fmla="*/ 2147483647 h 58"/>
              <a:gd name="T32" fmla="*/ 2147483647 w 70"/>
              <a:gd name="T33" fmla="*/ 2147483647 h 58"/>
              <a:gd name="T34" fmla="*/ 2147483647 w 70"/>
              <a:gd name="T35" fmla="*/ 2147483647 h 58"/>
              <a:gd name="T36" fmla="*/ 0 w 70"/>
              <a:gd name="T37" fmla="*/ 2147483647 h 58"/>
              <a:gd name="T38" fmla="*/ 2147483647 w 70"/>
              <a:gd name="T39" fmla="*/ 2147483647 h 58"/>
              <a:gd name="T40" fmla="*/ 2147483647 w 70"/>
              <a:gd name="T41" fmla="*/ 2147483647 h 58"/>
              <a:gd name="T42" fmla="*/ 2147483647 w 70"/>
              <a:gd name="T43" fmla="*/ 2147483647 h 58"/>
              <a:gd name="T44" fmla="*/ 2147483647 w 70"/>
              <a:gd name="T45" fmla="*/ 2147483647 h 58"/>
              <a:gd name="T46" fmla="*/ 2147483647 w 70"/>
              <a:gd name="T47" fmla="*/ 2147483647 h 58"/>
              <a:gd name="T48" fmla="*/ 2147483647 w 70"/>
              <a:gd name="T49" fmla="*/ 2147483647 h 58"/>
              <a:gd name="T50" fmla="*/ 2147483647 w 70"/>
              <a:gd name="T51" fmla="*/ 2147483647 h 58"/>
              <a:gd name="T52" fmla="*/ 2147483647 w 70"/>
              <a:gd name="T53" fmla="*/ 2147483647 h 58"/>
              <a:gd name="T54" fmla="*/ 2147483647 w 70"/>
              <a:gd name="T55" fmla="*/ 2147483647 h 58"/>
              <a:gd name="T56" fmla="*/ 2147483647 w 70"/>
              <a:gd name="T57" fmla="*/ 2147483647 h 58"/>
              <a:gd name="T58" fmla="*/ 2147483647 w 70"/>
              <a:gd name="T59" fmla="*/ 2147483647 h 58"/>
              <a:gd name="T60" fmla="*/ 2147483647 w 70"/>
              <a:gd name="T61" fmla="*/ 2147483647 h 58"/>
              <a:gd name="T62" fmla="*/ 2147483647 w 70"/>
              <a:gd name="T63" fmla="*/ 2147483647 h 58"/>
              <a:gd name="T64" fmla="*/ 2147483647 w 70"/>
              <a:gd name="T65" fmla="*/ 2147483647 h 58"/>
              <a:gd name="T66" fmla="*/ 2147483647 w 70"/>
              <a:gd name="T67" fmla="*/ 2147483647 h 58"/>
              <a:gd name="T68" fmla="*/ 2147483647 w 70"/>
              <a:gd name="T69" fmla="*/ 2147483647 h 58"/>
              <a:gd name="T70" fmla="*/ 2147483647 w 70"/>
              <a:gd name="T71" fmla="*/ 2147483647 h 58"/>
              <a:gd name="T72" fmla="*/ 2147483647 w 70"/>
              <a:gd name="T73" fmla="*/ 2147483647 h 58"/>
              <a:gd name="T74" fmla="*/ 2147483647 w 70"/>
              <a:gd name="T75" fmla="*/ 2147483647 h 58"/>
              <a:gd name="T76" fmla="*/ 2147483647 w 70"/>
              <a:gd name="T77" fmla="*/ 2147483647 h 58"/>
              <a:gd name="T78" fmla="*/ 2147483647 w 70"/>
              <a:gd name="T79" fmla="*/ 2147483647 h 58"/>
              <a:gd name="T80" fmla="*/ 2147483647 w 70"/>
              <a:gd name="T81" fmla="*/ 2147483647 h 58"/>
              <a:gd name="T82" fmla="*/ 2147483647 w 70"/>
              <a:gd name="T83" fmla="*/ 2147483647 h 58"/>
              <a:gd name="T84" fmla="*/ 2147483647 w 70"/>
              <a:gd name="T85" fmla="*/ 2147483647 h 58"/>
              <a:gd name="T86" fmla="*/ 2147483647 w 70"/>
              <a:gd name="T87" fmla="*/ 2147483647 h 58"/>
              <a:gd name="T88" fmla="*/ 2147483647 w 70"/>
              <a:gd name="T89" fmla="*/ 2147483647 h 58"/>
              <a:gd name="T90" fmla="*/ 2147483647 w 70"/>
              <a:gd name="T91" fmla="*/ 2147483647 h 58"/>
              <a:gd name="T92" fmla="*/ 2147483647 w 70"/>
              <a:gd name="T93" fmla="*/ 2147483647 h 58"/>
              <a:gd name="T94" fmla="*/ 2147483647 w 70"/>
              <a:gd name="T95" fmla="*/ 2147483647 h 58"/>
              <a:gd name="T96" fmla="*/ 2147483647 w 70"/>
              <a:gd name="T97" fmla="*/ 2147483647 h 58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70"/>
              <a:gd name="T148" fmla="*/ 0 h 58"/>
              <a:gd name="T149" fmla="*/ 70 w 70"/>
              <a:gd name="T150" fmla="*/ 58 h 58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70" h="58">
                <a:moveTo>
                  <a:pt x="70" y="28"/>
                </a:moveTo>
                <a:lnTo>
                  <a:pt x="68" y="24"/>
                </a:lnTo>
                <a:lnTo>
                  <a:pt x="62" y="22"/>
                </a:lnTo>
                <a:lnTo>
                  <a:pt x="59" y="17"/>
                </a:lnTo>
                <a:lnTo>
                  <a:pt x="56" y="10"/>
                </a:lnTo>
                <a:lnTo>
                  <a:pt x="53" y="4"/>
                </a:lnTo>
                <a:lnTo>
                  <a:pt x="48" y="3"/>
                </a:lnTo>
                <a:lnTo>
                  <a:pt x="43" y="0"/>
                </a:lnTo>
                <a:lnTo>
                  <a:pt x="41" y="2"/>
                </a:lnTo>
                <a:lnTo>
                  <a:pt x="37" y="1"/>
                </a:lnTo>
                <a:lnTo>
                  <a:pt x="31" y="5"/>
                </a:lnTo>
                <a:lnTo>
                  <a:pt x="23" y="5"/>
                </a:lnTo>
                <a:lnTo>
                  <a:pt x="17" y="8"/>
                </a:lnTo>
                <a:lnTo>
                  <a:pt x="15" y="12"/>
                </a:lnTo>
                <a:lnTo>
                  <a:pt x="10" y="12"/>
                </a:lnTo>
                <a:lnTo>
                  <a:pt x="6" y="13"/>
                </a:lnTo>
                <a:lnTo>
                  <a:pt x="4" y="18"/>
                </a:lnTo>
                <a:lnTo>
                  <a:pt x="1" y="22"/>
                </a:lnTo>
                <a:lnTo>
                  <a:pt x="0" y="29"/>
                </a:lnTo>
                <a:lnTo>
                  <a:pt x="3" y="30"/>
                </a:lnTo>
                <a:lnTo>
                  <a:pt x="2" y="34"/>
                </a:lnTo>
                <a:lnTo>
                  <a:pt x="7" y="34"/>
                </a:lnTo>
                <a:lnTo>
                  <a:pt x="11" y="38"/>
                </a:lnTo>
                <a:lnTo>
                  <a:pt x="11" y="42"/>
                </a:lnTo>
                <a:lnTo>
                  <a:pt x="14" y="45"/>
                </a:lnTo>
                <a:lnTo>
                  <a:pt x="19" y="49"/>
                </a:lnTo>
                <a:lnTo>
                  <a:pt x="21" y="51"/>
                </a:lnTo>
                <a:lnTo>
                  <a:pt x="23" y="58"/>
                </a:lnTo>
                <a:lnTo>
                  <a:pt x="25" y="58"/>
                </a:lnTo>
                <a:lnTo>
                  <a:pt x="26" y="55"/>
                </a:lnTo>
                <a:lnTo>
                  <a:pt x="32" y="48"/>
                </a:lnTo>
                <a:lnTo>
                  <a:pt x="34" y="44"/>
                </a:lnTo>
                <a:lnTo>
                  <a:pt x="36" y="41"/>
                </a:lnTo>
                <a:lnTo>
                  <a:pt x="41" y="42"/>
                </a:lnTo>
                <a:lnTo>
                  <a:pt x="41" y="36"/>
                </a:lnTo>
                <a:lnTo>
                  <a:pt x="40" y="33"/>
                </a:lnTo>
                <a:lnTo>
                  <a:pt x="37" y="33"/>
                </a:lnTo>
                <a:lnTo>
                  <a:pt x="37" y="30"/>
                </a:lnTo>
                <a:lnTo>
                  <a:pt x="40" y="28"/>
                </a:lnTo>
                <a:lnTo>
                  <a:pt x="39" y="25"/>
                </a:lnTo>
                <a:lnTo>
                  <a:pt x="44" y="20"/>
                </a:lnTo>
                <a:lnTo>
                  <a:pt x="47" y="22"/>
                </a:lnTo>
                <a:lnTo>
                  <a:pt x="45" y="26"/>
                </a:lnTo>
                <a:lnTo>
                  <a:pt x="50" y="29"/>
                </a:lnTo>
                <a:lnTo>
                  <a:pt x="53" y="30"/>
                </a:lnTo>
                <a:lnTo>
                  <a:pt x="59" y="29"/>
                </a:lnTo>
                <a:lnTo>
                  <a:pt x="63" y="33"/>
                </a:lnTo>
                <a:lnTo>
                  <a:pt x="68" y="31"/>
                </a:lnTo>
                <a:lnTo>
                  <a:pt x="70" y="28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 anchor="b"/>
          <a:lstStyle/>
          <a:p>
            <a:endParaRPr lang="ru-RU"/>
          </a:p>
        </p:txBody>
      </p:sp>
      <p:sp>
        <p:nvSpPr>
          <p:cNvPr id="78" name="Freeform 68"/>
          <p:cNvSpPr>
            <a:spLocks/>
          </p:cNvSpPr>
          <p:nvPr/>
        </p:nvSpPr>
        <p:spPr bwMode="auto">
          <a:xfrm>
            <a:off x="4746182" y="4292599"/>
            <a:ext cx="447675" cy="628650"/>
          </a:xfrm>
          <a:custGeom>
            <a:avLst/>
            <a:gdLst>
              <a:gd name="T0" fmla="*/ 0 w 47"/>
              <a:gd name="T1" fmla="*/ 2147483647 h 66"/>
              <a:gd name="T2" fmla="*/ 2147483647 w 47"/>
              <a:gd name="T3" fmla="*/ 2147483647 h 66"/>
              <a:gd name="T4" fmla="*/ 2147483647 w 47"/>
              <a:gd name="T5" fmla="*/ 2147483647 h 66"/>
              <a:gd name="T6" fmla="*/ 2147483647 w 47"/>
              <a:gd name="T7" fmla="*/ 2147483647 h 66"/>
              <a:gd name="T8" fmla="*/ 2147483647 w 47"/>
              <a:gd name="T9" fmla="*/ 2147483647 h 66"/>
              <a:gd name="T10" fmla="*/ 2147483647 w 47"/>
              <a:gd name="T11" fmla="*/ 2147483647 h 66"/>
              <a:gd name="T12" fmla="*/ 2147483647 w 47"/>
              <a:gd name="T13" fmla="*/ 2147483647 h 66"/>
              <a:gd name="T14" fmla="*/ 2147483647 w 47"/>
              <a:gd name="T15" fmla="*/ 2147483647 h 66"/>
              <a:gd name="T16" fmla="*/ 2147483647 w 47"/>
              <a:gd name="T17" fmla="*/ 2147483647 h 66"/>
              <a:gd name="T18" fmla="*/ 2147483647 w 47"/>
              <a:gd name="T19" fmla="*/ 2147483647 h 66"/>
              <a:gd name="T20" fmla="*/ 2147483647 w 47"/>
              <a:gd name="T21" fmla="*/ 2147483647 h 66"/>
              <a:gd name="T22" fmla="*/ 2147483647 w 47"/>
              <a:gd name="T23" fmla="*/ 2147483647 h 66"/>
              <a:gd name="T24" fmla="*/ 2147483647 w 47"/>
              <a:gd name="T25" fmla="*/ 0 h 66"/>
              <a:gd name="T26" fmla="*/ 2147483647 w 47"/>
              <a:gd name="T27" fmla="*/ 2147483647 h 66"/>
              <a:gd name="T28" fmla="*/ 2147483647 w 47"/>
              <a:gd name="T29" fmla="*/ 2147483647 h 66"/>
              <a:gd name="T30" fmla="*/ 2147483647 w 47"/>
              <a:gd name="T31" fmla="*/ 2147483647 h 66"/>
              <a:gd name="T32" fmla="*/ 2147483647 w 47"/>
              <a:gd name="T33" fmla="*/ 2147483647 h 66"/>
              <a:gd name="T34" fmla="*/ 2147483647 w 47"/>
              <a:gd name="T35" fmla="*/ 2147483647 h 66"/>
              <a:gd name="T36" fmla="*/ 2147483647 w 47"/>
              <a:gd name="T37" fmla="*/ 2147483647 h 66"/>
              <a:gd name="T38" fmla="*/ 2147483647 w 47"/>
              <a:gd name="T39" fmla="*/ 2147483647 h 66"/>
              <a:gd name="T40" fmla="*/ 2147483647 w 47"/>
              <a:gd name="T41" fmla="*/ 2147483647 h 66"/>
              <a:gd name="T42" fmla="*/ 2147483647 w 47"/>
              <a:gd name="T43" fmla="*/ 2147483647 h 66"/>
              <a:gd name="T44" fmla="*/ 2147483647 w 47"/>
              <a:gd name="T45" fmla="*/ 2147483647 h 66"/>
              <a:gd name="T46" fmla="*/ 2147483647 w 47"/>
              <a:gd name="T47" fmla="*/ 2147483647 h 66"/>
              <a:gd name="T48" fmla="*/ 2147483647 w 47"/>
              <a:gd name="T49" fmla="*/ 2147483647 h 66"/>
              <a:gd name="T50" fmla="*/ 2147483647 w 47"/>
              <a:gd name="T51" fmla="*/ 2147483647 h 66"/>
              <a:gd name="T52" fmla="*/ 2147483647 w 47"/>
              <a:gd name="T53" fmla="*/ 2147483647 h 66"/>
              <a:gd name="T54" fmla="*/ 2147483647 w 47"/>
              <a:gd name="T55" fmla="*/ 2147483647 h 66"/>
              <a:gd name="T56" fmla="*/ 2147483647 w 47"/>
              <a:gd name="T57" fmla="*/ 2147483647 h 66"/>
              <a:gd name="T58" fmla="*/ 2147483647 w 47"/>
              <a:gd name="T59" fmla="*/ 2147483647 h 66"/>
              <a:gd name="T60" fmla="*/ 2147483647 w 47"/>
              <a:gd name="T61" fmla="*/ 2147483647 h 66"/>
              <a:gd name="T62" fmla="*/ 2147483647 w 47"/>
              <a:gd name="T63" fmla="*/ 2147483647 h 66"/>
              <a:gd name="T64" fmla="*/ 2147483647 w 47"/>
              <a:gd name="T65" fmla="*/ 2147483647 h 66"/>
              <a:gd name="T66" fmla="*/ 2147483647 w 47"/>
              <a:gd name="T67" fmla="*/ 2147483647 h 66"/>
              <a:gd name="T68" fmla="*/ 2147483647 w 47"/>
              <a:gd name="T69" fmla="*/ 2147483647 h 66"/>
              <a:gd name="T70" fmla="*/ 2147483647 w 47"/>
              <a:gd name="T71" fmla="*/ 2147483647 h 66"/>
              <a:gd name="T72" fmla="*/ 2147483647 w 47"/>
              <a:gd name="T73" fmla="*/ 2147483647 h 66"/>
              <a:gd name="T74" fmla="*/ 2147483647 w 47"/>
              <a:gd name="T75" fmla="*/ 2147483647 h 66"/>
              <a:gd name="T76" fmla="*/ 2147483647 w 47"/>
              <a:gd name="T77" fmla="*/ 2147483647 h 66"/>
              <a:gd name="T78" fmla="*/ 2147483647 w 47"/>
              <a:gd name="T79" fmla="*/ 2147483647 h 66"/>
              <a:gd name="T80" fmla="*/ 2147483647 w 47"/>
              <a:gd name="T81" fmla="*/ 2147483647 h 66"/>
              <a:gd name="T82" fmla="*/ 2147483647 w 47"/>
              <a:gd name="T83" fmla="*/ 2147483647 h 66"/>
              <a:gd name="T84" fmla="*/ 2147483647 w 47"/>
              <a:gd name="T85" fmla="*/ 2147483647 h 66"/>
              <a:gd name="T86" fmla="*/ 2147483647 w 47"/>
              <a:gd name="T87" fmla="*/ 2147483647 h 66"/>
              <a:gd name="T88" fmla="*/ 2147483647 w 47"/>
              <a:gd name="T89" fmla="*/ 2147483647 h 66"/>
              <a:gd name="T90" fmla="*/ 2147483647 w 47"/>
              <a:gd name="T91" fmla="*/ 2147483647 h 66"/>
              <a:gd name="T92" fmla="*/ 2147483647 w 47"/>
              <a:gd name="T93" fmla="*/ 2147483647 h 66"/>
              <a:gd name="T94" fmla="*/ 2147483647 w 47"/>
              <a:gd name="T95" fmla="*/ 2147483647 h 66"/>
              <a:gd name="T96" fmla="*/ 2147483647 w 47"/>
              <a:gd name="T97" fmla="*/ 2147483647 h 66"/>
              <a:gd name="T98" fmla="*/ 2147483647 w 47"/>
              <a:gd name="T99" fmla="*/ 2147483647 h 66"/>
              <a:gd name="T100" fmla="*/ 0 w 47"/>
              <a:gd name="T101" fmla="*/ 2147483647 h 6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47"/>
              <a:gd name="T154" fmla="*/ 0 h 66"/>
              <a:gd name="T155" fmla="*/ 47 w 47"/>
              <a:gd name="T156" fmla="*/ 66 h 6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47" h="66">
                <a:moveTo>
                  <a:pt x="0" y="38"/>
                </a:moveTo>
                <a:lnTo>
                  <a:pt x="1" y="35"/>
                </a:lnTo>
                <a:lnTo>
                  <a:pt x="7" y="28"/>
                </a:lnTo>
                <a:lnTo>
                  <a:pt x="9" y="24"/>
                </a:lnTo>
                <a:lnTo>
                  <a:pt x="11" y="21"/>
                </a:lnTo>
                <a:lnTo>
                  <a:pt x="16" y="22"/>
                </a:lnTo>
                <a:lnTo>
                  <a:pt x="16" y="16"/>
                </a:lnTo>
                <a:lnTo>
                  <a:pt x="15" y="13"/>
                </a:lnTo>
                <a:lnTo>
                  <a:pt x="12" y="13"/>
                </a:lnTo>
                <a:lnTo>
                  <a:pt x="12" y="10"/>
                </a:lnTo>
                <a:lnTo>
                  <a:pt x="15" y="8"/>
                </a:lnTo>
                <a:lnTo>
                  <a:pt x="14" y="5"/>
                </a:lnTo>
                <a:lnTo>
                  <a:pt x="19" y="0"/>
                </a:lnTo>
                <a:lnTo>
                  <a:pt x="22" y="2"/>
                </a:lnTo>
                <a:lnTo>
                  <a:pt x="20" y="6"/>
                </a:lnTo>
                <a:lnTo>
                  <a:pt x="25" y="9"/>
                </a:lnTo>
                <a:lnTo>
                  <a:pt x="28" y="10"/>
                </a:lnTo>
                <a:lnTo>
                  <a:pt x="34" y="9"/>
                </a:lnTo>
                <a:lnTo>
                  <a:pt x="38" y="13"/>
                </a:lnTo>
                <a:lnTo>
                  <a:pt x="43" y="11"/>
                </a:lnTo>
                <a:lnTo>
                  <a:pt x="45" y="8"/>
                </a:lnTo>
                <a:lnTo>
                  <a:pt x="47" y="11"/>
                </a:lnTo>
                <a:lnTo>
                  <a:pt x="43" y="14"/>
                </a:lnTo>
                <a:lnTo>
                  <a:pt x="45" y="17"/>
                </a:lnTo>
                <a:lnTo>
                  <a:pt x="46" y="21"/>
                </a:lnTo>
                <a:lnTo>
                  <a:pt x="47" y="27"/>
                </a:lnTo>
                <a:lnTo>
                  <a:pt x="46" y="31"/>
                </a:lnTo>
                <a:lnTo>
                  <a:pt x="45" y="34"/>
                </a:lnTo>
                <a:lnTo>
                  <a:pt x="42" y="35"/>
                </a:lnTo>
                <a:lnTo>
                  <a:pt x="42" y="39"/>
                </a:lnTo>
                <a:lnTo>
                  <a:pt x="38" y="39"/>
                </a:lnTo>
                <a:lnTo>
                  <a:pt x="33" y="41"/>
                </a:lnTo>
                <a:lnTo>
                  <a:pt x="32" y="45"/>
                </a:lnTo>
                <a:lnTo>
                  <a:pt x="32" y="50"/>
                </a:lnTo>
                <a:lnTo>
                  <a:pt x="34" y="55"/>
                </a:lnTo>
                <a:lnTo>
                  <a:pt x="31" y="63"/>
                </a:lnTo>
                <a:lnTo>
                  <a:pt x="24" y="63"/>
                </a:lnTo>
                <a:lnTo>
                  <a:pt x="20" y="66"/>
                </a:lnTo>
                <a:lnTo>
                  <a:pt x="17" y="62"/>
                </a:lnTo>
                <a:lnTo>
                  <a:pt x="14" y="65"/>
                </a:lnTo>
                <a:lnTo>
                  <a:pt x="12" y="60"/>
                </a:lnTo>
                <a:lnTo>
                  <a:pt x="17" y="58"/>
                </a:lnTo>
                <a:lnTo>
                  <a:pt x="12" y="54"/>
                </a:lnTo>
                <a:lnTo>
                  <a:pt x="9" y="56"/>
                </a:lnTo>
                <a:lnTo>
                  <a:pt x="9" y="51"/>
                </a:lnTo>
                <a:lnTo>
                  <a:pt x="3" y="51"/>
                </a:lnTo>
                <a:lnTo>
                  <a:pt x="1" y="46"/>
                </a:lnTo>
                <a:lnTo>
                  <a:pt x="4" y="45"/>
                </a:lnTo>
                <a:lnTo>
                  <a:pt x="4" y="40"/>
                </a:lnTo>
                <a:lnTo>
                  <a:pt x="4" y="38"/>
                </a:lnTo>
                <a:lnTo>
                  <a:pt x="0" y="38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79" name="Freeform 69"/>
          <p:cNvSpPr>
            <a:spLocks/>
          </p:cNvSpPr>
          <p:nvPr/>
        </p:nvSpPr>
        <p:spPr bwMode="auto">
          <a:xfrm>
            <a:off x="5041457" y="4549774"/>
            <a:ext cx="628650" cy="533400"/>
          </a:xfrm>
          <a:custGeom>
            <a:avLst/>
            <a:gdLst>
              <a:gd name="T0" fmla="*/ 0 w 66"/>
              <a:gd name="T1" fmla="*/ 2147483647 h 56"/>
              <a:gd name="T2" fmla="*/ 2147483647 w 66"/>
              <a:gd name="T3" fmla="*/ 2147483647 h 56"/>
              <a:gd name="T4" fmla="*/ 2147483647 w 66"/>
              <a:gd name="T5" fmla="*/ 2147483647 h 56"/>
              <a:gd name="T6" fmla="*/ 2147483647 w 66"/>
              <a:gd name="T7" fmla="*/ 2147483647 h 56"/>
              <a:gd name="T8" fmla="*/ 2147483647 w 66"/>
              <a:gd name="T9" fmla="*/ 2147483647 h 56"/>
              <a:gd name="T10" fmla="*/ 2147483647 w 66"/>
              <a:gd name="T11" fmla="*/ 2147483647 h 56"/>
              <a:gd name="T12" fmla="*/ 2147483647 w 66"/>
              <a:gd name="T13" fmla="*/ 2147483647 h 56"/>
              <a:gd name="T14" fmla="*/ 2147483647 w 66"/>
              <a:gd name="T15" fmla="*/ 2147483647 h 56"/>
              <a:gd name="T16" fmla="*/ 2147483647 w 66"/>
              <a:gd name="T17" fmla="*/ 2147483647 h 56"/>
              <a:gd name="T18" fmla="*/ 2147483647 w 66"/>
              <a:gd name="T19" fmla="*/ 2147483647 h 56"/>
              <a:gd name="T20" fmla="*/ 2147483647 w 66"/>
              <a:gd name="T21" fmla="*/ 0 h 56"/>
              <a:gd name="T22" fmla="*/ 2147483647 w 66"/>
              <a:gd name="T23" fmla="*/ 2147483647 h 56"/>
              <a:gd name="T24" fmla="*/ 2147483647 w 66"/>
              <a:gd name="T25" fmla="*/ 2147483647 h 56"/>
              <a:gd name="T26" fmla="*/ 2147483647 w 66"/>
              <a:gd name="T27" fmla="*/ 2147483647 h 56"/>
              <a:gd name="T28" fmla="*/ 2147483647 w 66"/>
              <a:gd name="T29" fmla="*/ 2147483647 h 56"/>
              <a:gd name="T30" fmla="*/ 2147483647 w 66"/>
              <a:gd name="T31" fmla="*/ 2147483647 h 56"/>
              <a:gd name="T32" fmla="*/ 2147483647 w 66"/>
              <a:gd name="T33" fmla="*/ 2147483647 h 56"/>
              <a:gd name="T34" fmla="*/ 2147483647 w 66"/>
              <a:gd name="T35" fmla="*/ 2147483647 h 56"/>
              <a:gd name="T36" fmla="*/ 2147483647 w 66"/>
              <a:gd name="T37" fmla="*/ 2147483647 h 56"/>
              <a:gd name="T38" fmla="*/ 2147483647 w 66"/>
              <a:gd name="T39" fmla="*/ 2147483647 h 56"/>
              <a:gd name="T40" fmla="*/ 2147483647 w 66"/>
              <a:gd name="T41" fmla="*/ 2147483647 h 56"/>
              <a:gd name="T42" fmla="*/ 2147483647 w 66"/>
              <a:gd name="T43" fmla="*/ 2147483647 h 56"/>
              <a:gd name="T44" fmla="*/ 2147483647 w 66"/>
              <a:gd name="T45" fmla="*/ 2147483647 h 56"/>
              <a:gd name="T46" fmla="*/ 2147483647 w 66"/>
              <a:gd name="T47" fmla="*/ 2147483647 h 56"/>
              <a:gd name="T48" fmla="*/ 2147483647 w 66"/>
              <a:gd name="T49" fmla="*/ 2147483647 h 56"/>
              <a:gd name="T50" fmla="*/ 2147483647 w 66"/>
              <a:gd name="T51" fmla="*/ 2147483647 h 56"/>
              <a:gd name="T52" fmla="*/ 2147483647 w 66"/>
              <a:gd name="T53" fmla="*/ 2147483647 h 56"/>
              <a:gd name="T54" fmla="*/ 2147483647 w 66"/>
              <a:gd name="T55" fmla="*/ 2147483647 h 56"/>
              <a:gd name="T56" fmla="*/ 2147483647 w 66"/>
              <a:gd name="T57" fmla="*/ 2147483647 h 56"/>
              <a:gd name="T58" fmla="*/ 2147483647 w 66"/>
              <a:gd name="T59" fmla="*/ 2147483647 h 56"/>
              <a:gd name="T60" fmla="*/ 2147483647 w 66"/>
              <a:gd name="T61" fmla="*/ 2147483647 h 56"/>
              <a:gd name="T62" fmla="*/ 2147483647 w 66"/>
              <a:gd name="T63" fmla="*/ 2147483647 h 56"/>
              <a:gd name="T64" fmla="*/ 2147483647 w 66"/>
              <a:gd name="T65" fmla="*/ 2147483647 h 56"/>
              <a:gd name="T66" fmla="*/ 2147483647 w 66"/>
              <a:gd name="T67" fmla="*/ 2147483647 h 56"/>
              <a:gd name="T68" fmla="*/ 2147483647 w 66"/>
              <a:gd name="T69" fmla="*/ 2147483647 h 56"/>
              <a:gd name="T70" fmla="*/ 2147483647 w 66"/>
              <a:gd name="T71" fmla="*/ 2147483647 h 56"/>
              <a:gd name="T72" fmla="*/ 2147483647 w 66"/>
              <a:gd name="T73" fmla="*/ 2147483647 h 56"/>
              <a:gd name="T74" fmla="*/ 2147483647 w 66"/>
              <a:gd name="T75" fmla="*/ 2147483647 h 56"/>
              <a:gd name="T76" fmla="*/ 2147483647 w 66"/>
              <a:gd name="T77" fmla="*/ 2147483647 h 56"/>
              <a:gd name="T78" fmla="*/ 2147483647 w 66"/>
              <a:gd name="T79" fmla="*/ 2147483647 h 56"/>
              <a:gd name="T80" fmla="*/ 2147483647 w 66"/>
              <a:gd name="T81" fmla="*/ 2147483647 h 56"/>
              <a:gd name="T82" fmla="*/ 2147483647 w 66"/>
              <a:gd name="T83" fmla="*/ 2147483647 h 56"/>
              <a:gd name="T84" fmla="*/ 2147483647 w 66"/>
              <a:gd name="T85" fmla="*/ 2147483647 h 56"/>
              <a:gd name="T86" fmla="*/ 2147483647 w 66"/>
              <a:gd name="T87" fmla="*/ 2147483647 h 56"/>
              <a:gd name="T88" fmla="*/ 0 w 66"/>
              <a:gd name="T89" fmla="*/ 2147483647 h 5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66"/>
              <a:gd name="T136" fmla="*/ 0 h 56"/>
              <a:gd name="T137" fmla="*/ 66 w 66"/>
              <a:gd name="T138" fmla="*/ 56 h 5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66" h="56">
                <a:moveTo>
                  <a:pt x="0" y="36"/>
                </a:moveTo>
                <a:lnTo>
                  <a:pt x="3" y="28"/>
                </a:lnTo>
                <a:lnTo>
                  <a:pt x="1" y="23"/>
                </a:lnTo>
                <a:lnTo>
                  <a:pt x="1" y="18"/>
                </a:lnTo>
                <a:lnTo>
                  <a:pt x="2" y="14"/>
                </a:lnTo>
                <a:lnTo>
                  <a:pt x="7" y="12"/>
                </a:lnTo>
                <a:lnTo>
                  <a:pt x="11" y="12"/>
                </a:lnTo>
                <a:lnTo>
                  <a:pt x="11" y="8"/>
                </a:lnTo>
                <a:lnTo>
                  <a:pt x="14" y="7"/>
                </a:lnTo>
                <a:lnTo>
                  <a:pt x="15" y="4"/>
                </a:lnTo>
                <a:lnTo>
                  <a:pt x="16" y="0"/>
                </a:lnTo>
                <a:lnTo>
                  <a:pt x="22" y="2"/>
                </a:lnTo>
                <a:lnTo>
                  <a:pt x="30" y="3"/>
                </a:lnTo>
                <a:lnTo>
                  <a:pt x="35" y="10"/>
                </a:lnTo>
                <a:lnTo>
                  <a:pt x="37" y="9"/>
                </a:lnTo>
                <a:lnTo>
                  <a:pt x="39" y="14"/>
                </a:lnTo>
                <a:lnTo>
                  <a:pt x="39" y="17"/>
                </a:lnTo>
                <a:lnTo>
                  <a:pt x="45" y="17"/>
                </a:lnTo>
                <a:lnTo>
                  <a:pt x="47" y="20"/>
                </a:lnTo>
                <a:lnTo>
                  <a:pt x="58" y="20"/>
                </a:lnTo>
                <a:lnTo>
                  <a:pt x="58" y="24"/>
                </a:lnTo>
                <a:lnTo>
                  <a:pt x="57" y="25"/>
                </a:lnTo>
                <a:lnTo>
                  <a:pt x="57" y="29"/>
                </a:lnTo>
                <a:lnTo>
                  <a:pt x="60" y="30"/>
                </a:lnTo>
                <a:lnTo>
                  <a:pt x="62" y="26"/>
                </a:lnTo>
                <a:lnTo>
                  <a:pt x="66" y="27"/>
                </a:lnTo>
                <a:lnTo>
                  <a:pt x="66" y="48"/>
                </a:lnTo>
                <a:lnTo>
                  <a:pt x="62" y="51"/>
                </a:lnTo>
                <a:lnTo>
                  <a:pt x="56" y="51"/>
                </a:lnTo>
                <a:lnTo>
                  <a:pt x="51" y="50"/>
                </a:lnTo>
                <a:lnTo>
                  <a:pt x="48" y="53"/>
                </a:lnTo>
                <a:lnTo>
                  <a:pt x="45" y="56"/>
                </a:lnTo>
                <a:lnTo>
                  <a:pt x="41" y="52"/>
                </a:lnTo>
                <a:lnTo>
                  <a:pt x="42" y="47"/>
                </a:lnTo>
                <a:lnTo>
                  <a:pt x="37" y="42"/>
                </a:lnTo>
                <a:lnTo>
                  <a:pt x="30" y="45"/>
                </a:lnTo>
                <a:lnTo>
                  <a:pt x="26" y="47"/>
                </a:lnTo>
                <a:lnTo>
                  <a:pt x="19" y="47"/>
                </a:lnTo>
                <a:lnTo>
                  <a:pt x="14" y="46"/>
                </a:lnTo>
                <a:lnTo>
                  <a:pt x="11" y="48"/>
                </a:lnTo>
                <a:lnTo>
                  <a:pt x="8" y="42"/>
                </a:lnTo>
                <a:lnTo>
                  <a:pt x="5" y="37"/>
                </a:lnTo>
                <a:lnTo>
                  <a:pt x="9" y="35"/>
                </a:lnTo>
                <a:lnTo>
                  <a:pt x="9" y="33"/>
                </a:lnTo>
                <a:cubicBezTo>
                  <a:pt x="9" y="33"/>
                  <a:pt x="0" y="36"/>
                  <a:pt x="0" y="36"/>
                </a:cubicBez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0" name="Freeform 70"/>
          <p:cNvSpPr>
            <a:spLocks/>
          </p:cNvSpPr>
          <p:nvPr/>
        </p:nvSpPr>
        <p:spPr bwMode="auto">
          <a:xfrm>
            <a:off x="5155757" y="4178299"/>
            <a:ext cx="857250" cy="657225"/>
          </a:xfrm>
          <a:custGeom>
            <a:avLst/>
            <a:gdLst>
              <a:gd name="T0" fmla="*/ 2147483647 w 90"/>
              <a:gd name="T1" fmla="*/ 2147483647 h 69"/>
              <a:gd name="T2" fmla="*/ 2147483647 w 90"/>
              <a:gd name="T3" fmla="*/ 2147483647 h 69"/>
              <a:gd name="T4" fmla="*/ 2147483647 w 90"/>
              <a:gd name="T5" fmla="*/ 2147483647 h 69"/>
              <a:gd name="T6" fmla="*/ 2147483647 w 90"/>
              <a:gd name="T7" fmla="*/ 2147483647 h 69"/>
              <a:gd name="T8" fmla="*/ 2147483647 w 90"/>
              <a:gd name="T9" fmla="*/ 2147483647 h 69"/>
              <a:gd name="T10" fmla="*/ 2147483647 w 90"/>
              <a:gd name="T11" fmla="*/ 2147483647 h 69"/>
              <a:gd name="T12" fmla="*/ 2147483647 w 90"/>
              <a:gd name="T13" fmla="*/ 2147483647 h 69"/>
              <a:gd name="T14" fmla="*/ 2147483647 w 90"/>
              <a:gd name="T15" fmla="*/ 2147483647 h 69"/>
              <a:gd name="T16" fmla="*/ 2147483647 w 90"/>
              <a:gd name="T17" fmla="*/ 2147483647 h 69"/>
              <a:gd name="T18" fmla="*/ 2147483647 w 90"/>
              <a:gd name="T19" fmla="*/ 2147483647 h 69"/>
              <a:gd name="T20" fmla="*/ 2147483647 w 90"/>
              <a:gd name="T21" fmla="*/ 2147483647 h 69"/>
              <a:gd name="T22" fmla="*/ 2147483647 w 90"/>
              <a:gd name="T23" fmla="*/ 2147483647 h 69"/>
              <a:gd name="T24" fmla="*/ 2147483647 w 90"/>
              <a:gd name="T25" fmla="*/ 2147483647 h 69"/>
              <a:gd name="T26" fmla="*/ 2147483647 w 90"/>
              <a:gd name="T27" fmla="*/ 2147483647 h 69"/>
              <a:gd name="T28" fmla="*/ 2147483647 w 90"/>
              <a:gd name="T29" fmla="*/ 2147483647 h 69"/>
              <a:gd name="T30" fmla="*/ 2147483647 w 90"/>
              <a:gd name="T31" fmla="*/ 2147483647 h 69"/>
              <a:gd name="T32" fmla="*/ 2147483647 w 90"/>
              <a:gd name="T33" fmla="*/ 2147483647 h 69"/>
              <a:gd name="T34" fmla="*/ 2147483647 w 90"/>
              <a:gd name="T35" fmla="*/ 2147483647 h 69"/>
              <a:gd name="T36" fmla="*/ 0 w 90"/>
              <a:gd name="T37" fmla="*/ 2147483647 h 69"/>
              <a:gd name="T38" fmla="*/ 2147483647 w 90"/>
              <a:gd name="T39" fmla="*/ 2147483647 h 69"/>
              <a:gd name="T40" fmla="*/ 2147483647 w 90"/>
              <a:gd name="T41" fmla="*/ 2147483647 h 69"/>
              <a:gd name="T42" fmla="*/ 2147483647 w 90"/>
              <a:gd name="T43" fmla="*/ 2147483647 h 69"/>
              <a:gd name="T44" fmla="*/ 2147483647 w 90"/>
              <a:gd name="T45" fmla="*/ 2147483647 h 69"/>
              <a:gd name="T46" fmla="*/ 2147483647 w 90"/>
              <a:gd name="T47" fmla="*/ 2147483647 h 69"/>
              <a:gd name="T48" fmla="*/ 2147483647 w 90"/>
              <a:gd name="T49" fmla="*/ 2147483647 h 69"/>
              <a:gd name="T50" fmla="*/ 2147483647 w 90"/>
              <a:gd name="T51" fmla="*/ 2147483647 h 69"/>
              <a:gd name="T52" fmla="*/ 2147483647 w 90"/>
              <a:gd name="T53" fmla="*/ 0 h 69"/>
              <a:gd name="T54" fmla="*/ 2147483647 w 90"/>
              <a:gd name="T55" fmla="*/ 2147483647 h 69"/>
              <a:gd name="T56" fmla="*/ 2147483647 w 90"/>
              <a:gd name="T57" fmla="*/ 2147483647 h 69"/>
              <a:gd name="T58" fmla="*/ 2147483647 w 90"/>
              <a:gd name="T59" fmla="*/ 2147483647 h 69"/>
              <a:gd name="T60" fmla="*/ 2147483647 w 90"/>
              <a:gd name="T61" fmla="*/ 2147483647 h 69"/>
              <a:gd name="T62" fmla="*/ 2147483647 w 90"/>
              <a:gd name="T63" fmla="*/ 2147483647 h 69"/>
              <a:gd name="T64" fmla="*/ 2147483647 w 90"/>
              <a:gd name="T65" fmla="*/ 2147483647 h 69"/>
              <a:gd name="T66" fmla="*/ 2147483647 w 90"/>
              <a:gd name="T67" fmla="*/ 2147483647 h 69"/>
              <a:gd name="T68" fmla="*/ 2147483647 w 90"/>
              <a:gd name="T69" fmla="*/ 2147483647 h 69"/>
              <a:gd name="T70" fmla="*/ 2147483647 w 90"/>
              <a:gd name="T71" fmla="*/ 2147483647 h 69"/>
              <a:gd name="T72" fmla="*/ 2147483647 w 90"/>
              <a:gd name="T73" fmla="*/ 2147483647 h 69"/>
              <a:gd name="T74" fmla="*/ 2147483647 w 90"/>
              <a:gd name="T75" fmla="*/ 2147483647 h 69"/>
              <a:gd name="T76" fmla="*/ 2147483647 w 90"/>
              <a:gd name="T77" fmla="*/ 2147483647 h 69"/>
              <a:gd name="T78" fmla="*/ 2147483647 w 90"/>
              <a:gd name="T79" fmla="*/ 2147483647 h 69"/>
              <a:gd name="T80" fmla="*/ 2147483647 w 90"/>
              <a:gd name="T81" fmla="*/ 2147483647 h 69"/>
              <a:gd name="T82" fmla="*/ 2147483647 w 90"/>
              <a:gd name="T83" fmla="*/ 2147483647 h 69"/>
              <a:gd name="T84" fmla="*/ 2147483647 w 90"/>
              <a:gd name="T85" fmla="*/ 2147483647 h 69"/>
              <a:gd name="T86" fmla="*/ 2147483647 w 90"/>
              <a:gd name="T87" fmla="*/ 2147483647 h 69"/>
              <a:gd name="T88" fmla="*/ 2147483647 w 90"/>
              <a:gd name="T89" fmla="*/ 2147483647 h 69"/>
              <a:gd name="T90" fmla="*/ 2147483647 w 90"/>
              <a:gd name="T91" fmla="*/ 2147483647 h 69"/>
              <a:gd name="T92" fmla="*/ 2147483647 w 90"/>
              <a:gd name="T93" fmla="*/ 2147483647 h 69"/>
              <a:gd name="T94" fmla="*/ 2147483647 w 90"/>
              <a:gd name="T95" fmla="*/ 2147483647 h 69"/>
              <a:gd name="T96" fmla="*/ 2147483647 w 90"/>
              <a:gd name="T97" fmla="*/ 2147483647 h 69"/>
              <a:gd name="T98" fmla="*/ 2147483647 w 90"/>
              <a:gd name="T99" fmla="*/ 2147483647 h 69"/>
              <a:gd name="T100" fmla="*/ 2147483647 w 90"/>
              <a:gd name="T101" fmla="*/ 2147483647 h 69"/>
              <a:gd name="T102" fmla="*/ 2147483647 w 90"/>
              <a:gd name="T103" fmla="*/ 2147483647 h 69"/>
              <a:gd name="T104" fmla="*/ 2147483647 w 90"/>
              <a:gd name="T105" fmla="*/ 2147483647 h 69"/>
              <a:gd name="T106" fmla="*/ 2147483647 w 90"/>
              <a:gd name="T107" fmla="*/ 2147483647 h 69"/>
              <a:gd name="T108" fmla="*/ 2147483647 w 90"/>
              <a:gd name="T109" fmla="*/ 2147483647 h 69"/>
              <a:gd name="T110" fmla="*/ 2147483647 w 90"/>
              <a:gd name="T111" fmla="*/ 2147483647 h 69"/>
              <a:gd name="T112" fmla="*/ 2147483647 w 90"/>
              <a:gd name="T113" fmla="*/ 2147483647 h 69"/>
              <a:gd name="T114" fmla="*/ 2147483647 w 90"/>
              <a:gd name="T115" fmla="*/ 2147483647 h 69"/>
              <a:gd name="T116" fmla="*/ 2147483647 w 90"/>
              <a:gd name="T117" fmla="*/ 2147483647 h 69"/>
              <a:gd name="T118" fmla="*/ 2147483647 w 90"/>
              <a:gd name="T119" fmla="*/ 2147483647 h 69"/>
              <a:gd name="T120" fmla="*/ 2147483647 w 90"/>
              <a:gd name="T121" fmla="*/ 2147483647 h 6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90"/>
              <a:gd name="T184" fmla="*/ 0 h 69"/>
              <a:gd name="T185" fmla="*/ 90 w 90"/>
              <a:gd name="T186" fmla="*/ 69 h 6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90" h="69">
                <a:moveTo>
                  <a:pt x="54" y="66"/>
                </a:moveTo>
                <a:lnTo>
                  <a:pt x="50" y="65"/>
                </a:lnTo>
                <a:lnTo>
                  <a:pt x="48" y="69"/>
                </a:lnTo>
                <a:lnTo>
                  <a:pt x="45" y="68"/>
                </a:lnTo>
                <a:lnTo>
                  <a:pt x="45" y="64"/>
                </a:lnTo>
                <a:lnTo>
                  <a:pt x="46" y="63"/>
                </a:lnTo>
                <a:lnTo>
                  <a:pt x="46" y="59"/>
                </a:lnTo>
                <a:lnTo>
                  <a:pt x="35" y="59"/>
                </a:lnTo>
                <a:lnTo>
                  <a:pt x="33" y="56"/>
                </a:lnTo>
                <a:lnTo>
                  <a:pt x="27" y="56"/>
                </a:lnTo>
                <a:lnTo>
                  <a:pt x="27" y="53"/>
                </a:lnTo>
                <a:lnTo>
                  <a:pt x="25" y="48"/>
                </a:lnTo>
                <a:lnTo>
                  <a:pt x="23" y="49"/>
                </a:lnTo>
                <a:lnTo>
                  <a:pt x="18" y="42"/>
                </a:lnTo>
                <a:lnTo>
                  <a:pt x="10" y="41"/>
                </a:lnTo>
                <a:lnTo>
                  <a:pt x="4" y="39"/>
                </a:lnTo>
                <a:lnTo>
                  <a:pt x="3" y="33"/>
                </a:lnTo>
                <a:lnTo>
                  <a:pt x="2" y="29"/>
                </a:lnTo>
                <a:lnTo>
                  <a:pt x="0" y="26"/>
                </a:lnTo>
                <a:lnTo>
                  <a:pt x="4" y="23"/>
                </a:lnTo>
                <a:lnTo>
                  <a:pt x="2" y="20"/>
                </a:lnTo>
                <a:lnTo>
                  <a:pt x="9" y="15"/>
                </a:lnTo>
                <a:lnTo>
                  <a:pt x="10" y="11"/>
                </a:lnTo>
                <a:lnTo>
                  <a:pt x="16" y="12"/>
                </a:lnTo>
                <a:lnTo>
                  <a:pt x="18" y="5"/>
                </a:lnTo>
                <a:lnTo>
                  <a:pt x="18" y="3"/>
                </a:lnTo>
                <a:lnTo>
                  <a:pt x="24" y="0"/>
                </a:lnTo>
                <a:lnTo>
                  <a:pt x="29" y="1"/>
                </a:lnTo>
                <a:lnTo>
                  <a:pt x="34" y="4"/>
                </a:lnTo>
                <a:lnTo>
                  <a:pt x="43" y="4"/>
                </a:lnTo>
                <a:lnTo>
                  <a:pt x="50" y="9"/>
                </a:lnTo>
                <a:lnTo>
                  <a:pt x="53" y="9"/>
                </a:lnTo>
                <a:lnTo>
                  <a:pt x="58" y="5"/>
                </a:lnTo>
                <a:lnTo>
                  <a:pt x="62" y="5"/>
                </a:lnTo>
                <a:lnTo>
                  <a:pt x="62" y="8"/>
                </a:lnTo>
                <a:lnTo>
                  <a:pt x="65" y="13"/>
                </a:lnTo>
                <a:lnTo>
                  <a:pt x="66" y="15"/>
                </a:lnTo>
                <a:lnTo>
                  <a:pt x="65" y="18"/>
                </a:lnTo>
                <a:lnTo>
                  <a:pt x="62" y="19"/>
                </a:lnTo>
                <a:lnTo>
                  <a:pt x="64" y="23"/>
                </a:lnTo>
                <a:lnTo>
                  <a:pt x="70" y="23"/>
                </a:lnTo>
                <a:lnTo>
                  <a:pt x="75" y="23"/>
                </a:lnTo>
                <a:lnTo>
                  <a:pt x="79" y="23"/>
                </a:lnTo>
                <a:lnTo>
                  <a:pt x="81" y="28"/>
                </a:lnTo>
                <a:lnTo>
                  <a:pt x="84" y="33"/>
                </a:lnTo>
                <a:lnTo>
                  <a:pt x="86" y="33"/>
                </a:lnTo>
                <a:lnTo>
                  <a:pt x="86" y="36"/>
                </a:lnTo>
                <a:lnTo>
                  <a:pt x="81" y="41"/>
                </a:lnTo>
                <a:lnTo>
                  <a:pt x="81" y="47"/>
                </a:lnTo>
                <a:lnTo>
                  <a:pt x="85" y="49"/>
                </a:lnTo>
                <a:lnTo>
                  <a:pt x="90" y="51"/>
                </a:lnTo>
                <a:lnTo>
                  <a:pt x="89" y="53"/>
                </a:lnTo>
                <a:lnTo>
                  <a:pt x="85" y="55"/>
                </a:lnTo>
                <a:lnTo>
                  <a:pt x="82" y="57"/>
                </a:lnTo>
                <a:lnTo>
                  <a:pt x="82" y="64"/>
                </a:lnTo>
                <a:lnTo>
                  <a:pt x="74" y="64"/>
                </a:lnTo>
                <a:lnTo>
                  <a:pt x="71" y="61"/>
                </a:lnTo>
                <a:lnTo>
                  <a:pt x="65" y="62"/>
                </a:lnTo>
                <a:lnTo>
                  <a:pt x="62" y="66"/>
                </a:lnTo>
                <a:lnTo>
                  <a:pt x="58" y="66"/>
                </a:lnTo>
                <a:lnTo>
                  <a:pt x="54" y="66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1" name="Freeform 71"/>
          <p:cNvSpPr>
            <a:spLocks/>
          </p:cNvSpPr>
          <p:nvPr/>
        </p:nvSpPr>
        <p:spPr bwMode="auto">
          <a:xfrm>
            <a:off x="5670107" y="4759324"/>
            <a:ext cx="304800" cy="542925"/>
          </a:xfrm>
          <a:custGeom>
            <a:avLst/>
            <a:gdLst>
              <a:gd name="T0" fmla="*/ 2147483647 w 32"/>
              <a:gd name="T1" fmla="*/ 2147483647 h 57"/>
              <a:gd name="T2" fmla="*/ 2147483647 w 32"/>
              <a:gd name="T3" fmla="*/ 2147483647 h 57"/>
              <a:gd name="T4" fmla="*/ 2147483647 w 32"/>
              <a:gd name="T5" fmla="*/ 0 h 57"/>
              <a:gd name="T6" fmla="*/ 2147483647 w 32"/>
              <a:gd name="T7" fmla="*/ 2147483647 h 57"/>
              <a:gd name="T8" fmla="*/ 2147483647 w 32"/>
              <a:gd name="T9" fmla="*/ 2147483647 h 57"/>
              <a:gd name="T10" fmla="*/ 2147483647 w 32"/>
              <a:gd name="T11" fmla="*/ 2147483647 h 57"/>
              <a:gd name="T12" fmla="*/ 0 w 32"/>
              <a:gd name="T13" fmla="*/ 2147483647 h 57"/>
              <a:gd name="T14" fmla="*/ 0 w 32"/>
              <a:gd name="T15" fmla="*/ 2147483647 h 57"/>
              <a:gd name="T16" fmla="*/ 2147483647 w 32"/>
              <a:gd name="T17" fmla="*/ 2147483647 h 57"/>
              <a:gd name="T18" fmla="*/ 2147483647 w 32"/>
              <a:gd name="T19" fmla="*/ 2147483647 h 57"/>
              <a:gd name="T20" fmla="*/ 2147483647 w 32"/>
              <a:gd name="T21" fmla="*/ 2147483647 h 57"/>
              <a:gd name="T22" fmla="*/ 2147483647 w 32"/>
              <a:gd name="T23" fmla="*/ 2147483647 h 57"/>
              <a:gd name="T24" fmla="*/ 2147483647 w 32"/>
              <a:gd name="T25" fmla="*/ 2147483647 h 57"/>
              <a:gd name="T26" fmla="*/ 2147483647 w 32"/>
              <a:gd name="T27" fmla="*/ 2147483647 h 57"/>
              <a:gd name="T28" fmla="*/ 2147483647 w 32"/>
              <a:gd name="T29" fmla="*/ 2147483647 h 57"/>
              <a:gd name="T30" fmla="*/ 2147483647 w 32"/>
              <a:gd name="T31" fmla="*/ 2147483647 h 57"/>
              <a:gd name="T32" fmla="*/ 2147483647 w 32"/>
              <a:gd name="T33" fmla="*/ 2147483647 h 57"/>
              <a:gd name="T34" fmla="*/ 2147483647 w 32"/>
              <a:gd name="T35" fmla="*/ 2147483647 h 57"/>
              <a:gd name="T36" fmla="*/ 2147483647 w 32"/>
              <a:gd name="T37" fmla="*/ 2147483647 h 57"/>
              <a:gd name="T38" fmla="*/ 2147483647 w 32"/>
              <a:gd name="T39" fmla="*/ 2147483647 h 57"/>
              <a:gd name="T40" fmla="*/ 2147483647 w 32"/>
              <a:gd name="T41" fmla="*/ 2147483647 h 57"/>
              <a:gd name="T42" fmla="*/ 2147483647 w 32"/>
              <a:gd name="T43" fmla="*/ 2147483647 h 57"/>
              <a:gd name="T44" fmla="*/ 2147483647 w 32"/>
              <a:gd name="T45" fmla="*/ 2147483647 h 57"/>
              <a:gd name="T46" fmla="*/ 2147483647 w 32"/>
              <a:gd name="T47" fmla="*/ 2147483647 h 57"/>
              <a:gd name="T48" fmla="*/ 2147483647 w 32"/>
              <a:gd name="T49" fmla="*/ 2147483647 h 57"/>
              <a:gd name="T50" fmla="*/ 2147483647 w 32"/>
              <a:gd name="T51" fmla="*/ 2147483647 h 57"/>
              <a:gd name="T52" fmla="*/ 2147483647 w 32"/>
              <a:gd name="T53" fmla="*/ 2147483647 h 57"/>
              <a:gd name="T54" fmla="*/ 2147483647 w 32"/>
              <a:gd name="T55" fmla="*/ 2147483647 h 57"/>
              <a:gd name="T56" fmla="*/ 2147483647 w 32"/>
              <a:gd name="T57" fmla="*/ 2147483647 h 57"/>
              <a:gd name="T58" fmla="*/ 2147483647 w 32"/>
              <a:gd name="T59" fmla="*/ 2147483647 h 57"/>
              <a:gd name="T60" fmla="*/ 2147483647 w 32"/>
              <a:gd name="T61" fmla="*/ 2147483647 h 57"/>
              <a:gd name="T62" fmla="*/ 2147483647 w 32"/>
              <a:gd name="T63" fmla="*/ 2147483647 h 57"/>
              <a:gd name="T64" fmla="*/ 2147483647 w 32"/>
              <a:gd name="T65" fmla="*/ 2147483647 h 57"/>
              <a:gd name="T66" fmla="*/ 2147483647 w 32"/>
              <a:gd name="T67" fmla="*/ 2147483647 h 57"/>
              <a:gd name="T68" fmla="*/ 2147483647 w 32"/>
              <a:gd name="T69" fmla="*/ 2147483647 h 57"/>
              <a:gd name="T70" fmla="*/ 2147483647 w 32"/>
              <a:gd name="T71" fmla="*/ 2147483647 h 57"/>
              <a:gd name="T72" fmla="*/ 2147483647 w 32"/>
              <a:gd name="T73" fmla="*/ 2147483647 h 57"/>
              <a:gd name="T74" fmla="*/ 2147483647 w 32"/>
              <a:gd name="T75" fmla="*/ 2147483647 h 57"/>
              <a:gd name="T76" fmla="*/ 2147483647 w 32"/>
              <a:gd name="T77" fmla="*/ 2147483647 h 57"/>
              <a:gd name="T78" fmla="*/ 2147483647 w 32"/>
              <a:gd name="T79" fmla="*/ 2147483647 h 57"/>
              <a:gd name="T80" fmla="*/ 2147483647 w 32"/>
              <a:gd name="T81" fmla="*/ 2147483647 h 57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32"/>
              <a:gd name="T124" fmla="*/ 0 h 57"/>
              <a:gd name="T125" fmla="*/ 32 w 32"/>
              <a:gd name="T126" fmla="*/ 57 h 57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32" h="57">
                <a:moveTo>
                  <a:pt x="28" y="3"/>
                </a:moveTo>
                <a:lnTo>
                  <a:pt x="20" y="3"/>
                </a:lnTo>
                <a:lnTo>
                  <a:pt x="17" y="0"/>
                </a:lnTo>
                <a:lnTo>
                  <a:pt x="11" y="1"/>
                </a:lnTo>
                <a:lnTo>
                  <a:pt x="8" y="5"/>
                </a:lnTo>
                <a:lnTo>
                  <a:pt x="4" y="5"/>
                </a:lnTo>
                <a:lnTo>
                  <a:pt x="0" y="5"/>
                </a:lnTo>
                <a:lnTo>
                  <a:pt x="0" y="26"/>
                </a:lnTo>
                <a:lnTo>
                  <a:pt x="2" y="27"/>
                </a:lnTo>
                <a:lnTo>
                  <a:pt x="2" y="31"/>
                </a:lnTo>
                <a:lnTo>
                  <a:pt x="4" y="31"/>
                </a:lnTo>
                <a:lnTo>
                  <a:pt x="8" y="35"/>
                </a:lnTo>
                <a:lnTo>
                  <a:pt x="8" y="39"/>
                </a:lnTo>
                <a:lnTo>
                  <a:pt x="11" y="40"/>
                </a:lnTo>
                <a:lnTo>
                  <a:pt x="9" y="41"/>
                </a:lnTo>
                <a:lnTo>
                  <a:pt x="11" y="45"/>
                </a:lnTo>
                <a:lnTo>
                  <a:pt x="10" y="48"/>
                </a:lnTo>
                <a:lnTo>
                  <a:pt x="10" y="51"/>
                </a:lnTo>
                <a:lnTo>
                  <a:pt x="13" y="53"/>
                </a:lnTo>
                <a:lnTo>
                  <a:pt x="16" y="53"/>
                </a:lnTo>
                <a:lnTo>
                  <a:pt x="18" y="55"/>
                </a:lnTo>
                <a:lnTo>
                  <a:pt x="20" y="55"/>
                </a:lnTo>
                <a:lnTo>
                  <a:pt x="20" y="57"/>
                </a:lnTo>
                <a:lnTo>
                  <a:pt x="27" y="52"/>
                </a:lnTo>
                <a:lnTo>
                  <a:pt x="24" y="47"/>
                </a:lnTo>
                <a:lnTo>
                  <a:pt x="26" y="45"/>
                </a:lnTo>
                <a:lnTo>
                  <a:pt x="25" y="42"/>
                </a:lnTo>
                <a:lnTo>
                  <a:pt x="28" y="38"/>
                </a:lnTo>
                <a:lnTo>
                  <a:pt x="28" y="36"/>
                </a:lnTo>
                <a:lnTo>
                  <a:pt x="29" y="32"/>
                </a:lnTo>
                <a:lnTo>
                  <a:pt x="27" y="31"/>
                </a:lnTo>
                <a:lnTo>
                  <a:pt x="24" y="32"/>
                </a:lnTo>
                <a:lnTo>
                  <a:pt x="24" y="29"/>
                </a:lnTo>
                <a:lnTo>
                  <a:pt x="26" y="27"/>
                </a:lnTo>
                <a:lnTo>
                  <a:pt x="27" y="23"/>
                </a:lnTo>
                <a:lnTo>
                  <a:pt x="25" y="19"/>
                </a:lnTo>
                <a:lnTo>
                  <a:pt x="27" y="16"/>
                </a:lnTo>
                <a:lnTo>
                  <a:pt x="31" y="15"/>
                </a:lnTo>
                <a:lnTo>
                  <a:pt x="32" y="11"/>
                </a:lnTo>
                <a:lnTo>
                  <a:pt x="28" y="7"/>
                </a:lnTo>
                <a:lnTo>
                  <a:pt x="28" y="3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2" name="Freeform 72"/>
          <p:cNvSpPr>
            <a:spLocks/>
          </p:cNvSpPr>
          <p:nvPr/>
        </p:nvSpPr>
        <p:spPr bwMode="auto">
          <a:xfrm>
            <a:off x="5806632" y="4911724"/>
            <a:ext cx="314325" cy="495300"/>
          </a:xfrm>
          <a:custGeom>
            <a:avLst/>
            <a:gdLst>
              <a:gd name="T0" fmla="*/ 2147483647 w 33"/>
              <a:gd name="T1" fmla="*/ 0 h 52"/>
              <a:gd name="T2" fmla="*/ 2147483647 w 33"/>
              <a:gd name="T3" fmla="*/ 2147483647 h 52"/>
              <a:gd name="T4" fmla="*/ 2147483647 w 33"/>
              <a:gd name="T5" fmla="*/ 2147483647 h 52"/>
              <a:gd name="T6" fmla="*/ 2147483647 w 33"/>
              <a:gd name="T7" fmla="*/ 2147483647 h 52"/>
              <a:gd name="T8" fmla="*/ 2147483647 w 33"/>
              <a:gd name="T9" fmla="*/ 2147483647 h 52"/>
              <a:gd name="T10" fmla="*/ 2147483647 w 33"/>
              <a:gd name="T11" fmla="*/ 2147483647 h 52"/>
              <a:gd name="T12" fmla="*/ 2147483647 w 33"/>
              <a:gd name="T13" fmla="*/ 2147483647 h 52"/>
              <a:gd name="T14" fmla="*/ 2147483647 w 33"/>
              <a:gd name="T15" fmla="*/ 2147483647 h 52"/>
              <a:gd name="T16" fmla="*/ 2147483647 w 33"/>
              <a:gd name="T17" fmla="*/ 2147483647 h 52"/>
              <a:gd name="T18" fmla="*/ 2147483647 w 33"/>
              <a:gd name="T19" fmla="*/ 2147483647 h 52"/>
              <a:gd name="T20" fmla="*/ 2147483647 w 33"/>
              <a:gd name="T21" fmla="*/ 2147483647 h 52"/>
              <a:gd name="T22" fmla="*/ 2147483647 w 33"/>
              <a:gd name="T23" fmla="*/ 2147483647 h 52"/>
              <a:gd name="T24" fmla="*/ 2147483647 w 33"/>
              <a:gd name="T25" fmla="*/ 2147483647 h 52"/>
              <a:gd name="T26" fmla="*/ 2147483647 w 33"/>
              <a:gd name="T27" fmla="*/ 2147483647 h 52"/>
              <a:gd name="T28" fmla="*/ 2147483647 w 33"/>
              <a:gd name="T29" fmla="*/ 2147483647 h 52"/>
              <a:gd name="T30" fmla="*/ 2147483647 w 33"/>
              <a:gd name="T31" fmla="*/ 2147483647 h 52"/>
              <a:gd name="T32" fmla="*/ 0 w 33"/>
              <a:gd name="T33" fmla="*/ 2147483647 h 52"/>
              <a:gd name="T34" fmla="*/ 0 w 33"/>
              <a:gd name="T35" fmla="*/ 2147483647 h 52"/>
              <a:gd name="T36" fmla="*/ 2147483647 w 33"/>
              <a:gd name="T37" fmla="*/ 2147483647 h 52"/>
              <a:gd name="T38" fmla="*/ 2147483647 w 33"/>
              <a:gd name="T39" fmla="*/ 2147483647 h 52"/>
              <a:gd name="T40" fmla="*/ 2147483647 w 33"/>
              <a:gd name="T41" fmla="*/ 2147483647 h 52"/>
              <a:gd name="T42" fmla="*/ 2147483647 w 33"/>
              <a:gd name="T43" fmla="*/ 2147483647 h 52"/>
              <a:gd name="T44" fmla="*/ 2147483647 w 33"/>
              <a:gd name="T45" fmla="*/ 2147483647 h 52"/>
              <a:gd name="T46" fmla="*/ 2147483647 w 33"/>
              <a:gd name="T47" fmla="*/ 2147483647 h 52"/>
              <a:gd name="T48" fmla="*/ 2147483647 w 33"/>
              <a:gd name="T49" fmla="*/ 2147483647 h 52"/>
              <a:gd name="T50" fmla="*/ 2147483647 w 33"/>
              <a:gd name="T51" fmla="*/ 2147483647 h 52"/>
              <a:gd name="T52" fmla="*/ 2147483647 w 33"/>
              <a:gd name="T53" fmla="*/ 2147483647 h 52"/>
              <a:gd name="T54" fmla="*/ 2147483647 w 33"/>
              <a:gd name="T55" fmla="*/ 2147483647 h 52"/>
              <a:gd name="T56" fmla="*/ 2147483647 w 33"/>
              <a:gd name="T57" fmla="*/ 2147483647 h 52"/>
              <a:gd name="T58" fmla="*/ 2147483647 w 33"/>
              <a:gd name="T59" fmla="*/ 2147483647 h 52"/>
              <a:gd name="T60" fmla="*/ 2147483647 w 33"/>
              <a:gd name="T61" fmla="*/ 2147483647 h 52"/>
              <a:gd name="T62" fmla="*/ 2147483647 w 33"/>
              <a:gd name="T63" fmla="*/ 2147483647 h 52"/>
              <a:gd name="T64" fmla="*/ 2147483647 w 33"/>
              <a:gd name="T65" fmla="*/ 2147483647 h 52"/>
              <a:gd name="T66" fmla="*/ 2147483647 w 33"/>
              <a:gd name="T67" fmla="*/ 2147483647 h 52"/>
              <a:gd name="T68" fmla="*/ 2147483647 w 33"/>
              <a:gd name="T69" fmla="*/ 2147483647 h 52"/>
              <a:gd name="T70" fmla="*/ 2147483647 w 33"/>
              <a:gd name="T71" fmla="*/ 2147483647 h 52"/>
              <a:gd name="T72" fmla="*/ 2147483647 w 33"/>
              <a:gd name="T73" fmla="*/ 2147483647 h 52"/>
              <a:gd name="T74" fmla="*/ 2147483647 w 33"/>
              <a:gd name="T75" fmla="*/ 2147483647 h 52"/>
              <a:gd name="T76" fmla="*/ 2147483647 w 33"/>
              <a:gd name="T77" fmla="*/ 2147483647 h 52"/>
              <a:gd name="T78" fmla="*/ 2147483647 w 33"/>
              <a:gd name="T79" fmla="*/ 2147483647 h 52"/>
              <a:gd name="T80" fmla="*/ 2147483647 w 33"/>
              <a:gd name="T81" fmla="*/ 2147483647 h 52"/>
              <a:gd name="T82" fmla="*/ 2147483647 w 33"/>
              <a:gd name="T83" fmla="*/ 2147483647 h 52"/>
              <a:gd name="T84" fmla="*/ 2147483647 w 33"/>
              <a:gd name="T85" fmla="*/ 2147483647 h 52"/>
              <a:gd name="T86" fmla="*/ 2147483647 w 33"/>
              <a:gd name="T87" fmla="*/ 0 h 5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3"/>
              <a:gd name="T133" fmla="*/ 0 h 52"/>
              <a:gd name="T134" fmla="*/ 33 w 33"/>
              <a:gd name="T135" fmla="*/ 52 h 5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3" h="52">
                <a:moveTo>
                  <a:pt x="13" y="0"/>
                </a:moveTo>
                <a:lnTo>
                  <a:pt x="11" y="3"/>
                </a:lnTo>
                <a:lnTo>
                  <a:pt x="13" y="7"/>
                </a:lnTo>
                <a:lnTo>
                  <a:pt x="12" y="11"/>
                </a:lnTo>
                <a:lnTo>
                  <a:pt x="10" y="13"/>
                </a:lnTo>
                <a:lnTo>
                  <a:pt x="10" y="16"/>
                </a:lnTo>
                <a:lnTo>
                  <a:pt x="13" y="15"/>
                </a:lnTo>
                <a:lnTo>
                  <a:pt x="15" y="16"/>
                </a:lnTo>
                <a:lnTo>
                  <a:pt x="14" y="20"/>
                </a:lnTo>
                <a:lnTo>
                  <a:pt x="14" y="22"/>
                </a:lnTo>
                <a:lnTo>
                  <a:pt x="11" y="26"/>
                </a:lnTo>
                <a:lnTo>
                  <a:pt x="12" y="29"/>
                </a:lnTo>
                <a:lnTo>
                  <a:pt x="10" y="31"/>
                </a:lnTo>
                <a:lnTo>
                  <a:pt x="13" y="36"/>
                </a:lnTo>
                <a:lnTo>
                  <a:pt x="6" y="41"/>
                </a:lnTo>
                <a:lnTo>
                  <a:pt x="2" y="41"/>
                </a:lnTo>
                <a:lnTo>
                  <a:pt x="0" y="45"/>
                </a:lnTo>
                <a:lnTo>
                  <a:pt x="0" y="48"/>
                </a:lnTo>
                <a:lnTo>
                  <a:pt x="1" y="51"/>
                </a:lnTo>
                <a:lnTo>
                  <a:pt x="6" y="52"/>
                </a:lnTo>
                <a:lnTo>
                  <a:pt x="8" y="50"/>
                </a:lnTo>
                <a:lnTo>
                  <a:pt x="8" y="48"/>
                </a:lnTo>
                <a:lnTo>
                  <a:pt x="15" y="49"/>
                </a:lnTo>
                <a:lnTo>
                  <a:pt x="17" y="47"/>
                </a:lnTo>
                <a:lnTo>
                  <a:pt x="17" y="44"/>
                </a:lnTo>
                <a:lnTo>
                  <a:pt x="20" y="44"/>
                </a:lnTo>
                <a:lnTo>
                  <a:pt x="24" y="38"/>
                </a:lnTo>
                <a:lnTo>
                  <a:pt x="28" y="38"/>
                </a:lnTo>
                <a:lnTo>
                  <a:pt x="29" y="36"/>
                </a:lnTo>
                <a:lnTo>
                  <a:pt x="29" y="32"/>
                </a:lnTo>
                <a:lnTo>
                  <a:pt x="31" y="32"/>
                </a:lnTo>
                <a:lnTo>
                  <a:pt x="33" y="30"/>
                </a:lnTo>
                <a:lnTo>
                  <a:pt x="32" y="27"/>
                </a:lnTo>
                <a:lnTo>
                  <a:pt x="31" y="24"/>
                </a:lnTo>
                <a:lnTo>
                  <a:pt x="30" y="18"/>
                </a:lnTo>
                <a:lnTo>
                  <a:pt x="29" y="16"/>
                </a:lnTo>
                <a:lnTo>
                  <a:pt x="27" y="14"/>
                </a:lnTo>
                <a:lnTo>
                  <a:pt x="27" y="11"/>
                </a:lnTo>
                <a:lnTo>
                  <a:pt x="28" y="10"/>
                </a:lnTo>
                <a:lnTo>
                  <a:pt x="28" y="8"/>
                </a:lnTo>
                <a:lnTo>
                  <a:pt x="21" y="8"/>
                </a:lnTo>
                <a:lnTo>
                  <a:pt x="17" y="8"/>
                </a:lnTo>
                <a:lnTo>
                  <a:pt x="15" y="5"/>
                </a:lnTo>
                <a:lnTo>
                  <a:pt x="13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3" name="Freeform 73"/>
          <p:cNvSpPr>
            <a:spLocks/>
          </p:cNvSpPr>
          <p:nvPr/>
        </p:nvSpPr>
        <p:spPr bwMode="auto">
          <a:xfrm>
            <a:off x="5879657" y="5178424"/>
            <a:ext cx="742950" cy="466725"/>
          </a:xfrm>
          <a:custGeom>
            <a:avLst/>
            <a:gdLst>
              <a:gd name="T0" fmla="*/ 2147483647 w 78"/>
              <a:gd name="T1" fmla="*/ 2147483647 h 49"/>
              <a:gd name="T2" fmla="*/ 2147483647 w 78"/>
              <a:gd name="T3" fmla="*/ 2147483647 h 49"/>
              <a:gd name="T4" fmla="*/ 2147483647 w 78"/>
              <a:gd name="T5" fmla="*/ 2147483647 h 49"/>
              <a:gd name="T6" fmla="*/ 2147483647 w 78"/>
              <a:gd name="T7" fmla="*/ 2147483647 h 49"/>
              <a:gd name="T8" fmla="*/ 0 w 78"/>
              <a:gd name="T9" fmla="*/ 2147483647 h 49"/>
              <a:gd name="T10" fmla="*/ 0 w 78"/>
              <a:gd name="T11" fmla="*/ 2147483647 h 49"/>
              <a:gd name="T12" fmla="*/ 2147483647 w 78"/>
              <a:gd name="T13" fmla="*/ 2147483647 h 49"/>
              <a:gd name="T14" fmla="*/ 2147483647 w 78"/>
              <a:gd name="T15" fmla="*/ 2147483647 h 49"/>
              <a:gd name="T16" fmla="*/ 2147483647 w 78"/>
              <a:gd name="T17" fmla="*/ 2147483647 h 49"/>
              <a:gd name="T18" fmla="*/ 2147483647 w 78"/>
              <a:gd name="T19" fmla="*/ 2147483647 h 49"/>
              <a:gd name="T20" fmla="*/ 2147483647 w 78"/>
              <a:gd name="T21" fmla="*/ 2147483647 h 49"/>
              <a:gd name="T22" fmla="*/ 2147483647 w 78"/>
              <a:gd name="T23" fmla="*/ 2147483647 h 49"/>
              <a:gd name="T24" fmla="*/ 2147483647 w 78"/>
              <a:gd name="T25" fmla="*/ 2147483647 h 49"/>
              <a:gd name="T26" fmla="*/ 2147483647 w 78"/>
              <a:gd name="T27" fmla="*/ 2147483647 h 49"/>
              <a:gd name="T28" fmla="*/ 2147483647 w 78"/>
              <a:gd name="T29" fmla="*/ 2147483647 h 49"/>
              <a:gd name="T30" fmla="*/ 2147483647 w 78"/>
              <a:gd name="T31" fmla="*/ 2147483647 h 49"/>
              <a:gd name="T32" fmla="*/ 2147483647 w 78"/>
              <a:gd name="T33" fmla="*/ 2147483647 h 49"/>
              <a:gd name="T34" fmla="*/ 2147483647 w 78"/>
              <a:gd name="T35" fmla="*/ 2147483647 h 49"/>
              <a:gd name="T36" fmla="*/ 2147483647 w 78"/>
              <a:gd name="T37" fmla="*/ 2147483647 h 49"/>
              <a:gd name="T38" fmla="*/ 2147483647 w 78"/>
              <a:gd name="T39" fmla="*/ 2147483647 h 49"/>
              <a:gd name="T40" fmla="*/ 2147483647 w 78"/>
              <a:gd name="T41" fmla="*/ 2147483647 h 49"/>
              <a:gd name="T42" fmla="*/ 2147483647 w 78"/>
              <a:gd name="T43" fmla="*/ 2147483647 h 49"/>
              <a:gd name="T44" fmla="*/ 2147483647 w 78"/>
              <a:gd name="T45" fmla="*/ 2147483647 h 49"/>
              <a:gd name="T46" fmla="*/ 2147483647 w 78"/>
              <a:gd name="T47" fmla="*/ 2147483647 h 49"/>
              <a:gd name="T48" fmla="*/ 2147483647 w 78"/>
              <a:gd name="T49" fmla="*/ 2147483647 h 49"/>
              <a:gd name="T50" fmla="*/ 2147483647 w 78"/>
              <a:gd name="T51" fmla="*/ 2147483647 h 49"/>
              <a:gd name="T52" fmla="*/ 2147483647 w 78"/>
              <a:gd name="T53" fmla="*/ 2147483647 h 49"/>
              <a:gd name="T54" fmla="*/ 2147483647 w 78"/>
              <a:gd name="T55" fmla="*/ 2147483647 h 49"/>
              <a:gd name="T56" fmla="*/ 2147483647 w 78"/>
              <a:gd name="T57" fmla="*/ 2147483647 h 49"/>
              <a:gd name="T58" fmla="*/ 2147483647 w 78"/>
              <a:gd name="T59" fmla="*/ 2147483647 h 49"/>
              <a:gd name="T60" fmla="*/ 2147483647 w 78"/>
              <a:gd name="T61" fmla="*/ 2147483647 h 49"/>
              <a:gd name="T62" fmla="*/ 2147483647 w 78"/>
              <a:gd name="T63" fmla="*/ 2147483647 h 49"/>
              <a:gd name="T64" fmla="*/ 2147483647 w 78"/>
              <a:gd name="T65" fmla="*/ 2147483647 h 49"/>
              <a:gd name="T66" fmla="*/ 2147483647 w 78"/>
              <a:gd name="T67" fmla="*/ 2147483647 h 49"/>
              <a:gd name="T68" fmla="*/ 2147483647 w 78"/>
              <a:gd name="T69" fmla="*/ 2147483647 h 49"/>
              <a:gd name="T70" fmla="*/ 2147483647 w 78"/>
              <a:gd name="T71" fmla="*/ 2147483647 h 49"/>
              <a:gd name="T72" fmla="*/ 2147483647 w 78"/>
              <a:gd name="T73" fmla="*/ 2147483647 h 49"/>
              <a:gd name="T74" fmla="*/ 2147483647 w 78"/>
              <a:gd name="T75" fmla="*/ 2147483647 h 49"/>
              <a:gd name="T76" fmla="*/ 2147483647 w 78"/>
              <a:gd name="T77" fmla="*/ 2147483647 h 49"/>
              <a:gd name="T78" fmla="*/ 2147483647 w 78"/>
              <a:gd name="T79" fmla="*/ 0 h 49"/>
              <a:gd name="T80" fmla="*/ 2147483647 w 78"/>
              <a:gd name="T81" fmla="*/ 2147483647 h 49"/>
              <a:gd name="T82" fmla="*/ 2147483647 w 78"/>
              <a:gd name="T83" fmla="*/ 2147483647 h 49"/>
              <a:gd name="T84" fmla="*/ 2147483647 w 78"/>
              <a:gd name="T85" fmla="*/ 2147483647 h 49"/>
              <a:gd name="T86" fmla="*/ 2147483647 w 78"/>
              <a:gd name="T87" fmla="*/ 2147483647 h 49"/>
              <a:gd name="T88" fmla="*/ 2147483647 w 78"/>
              <a:gd name="T89" fmla="*/ 2147483647 h 49"/>
              <a:gd name="T90" fmla="*/ 2147483647 w 78"/>
              <a:gd name="T91" fmla="*/ 2147483647 h 49"/>
              <a:gd name="T92" fmla="*/ 2147483647 w 78"/>
              <a:gd name="T93" fmla="*/ 2147483647 h 49"/>
              <a:gd name="T94" fmla="*/ 2147483647 w 78"/>
              <a:gd name="T95" fmla="*/ 2147483647 h 49"/>
              <a:gd name="T96" fmla="*/ 2147483647 w 78"/>
              <a:gd name="T97" fmla="*/ 2147483647 h 49"/>
              <a:gd name="T98" fmla="*/ 2147483647 w 78"/>
              <a:gd name="T99" fmla="*/ 2147483647 h 49"/>
              <a:gd name="T100" fmla="*/ 2147483647 w 78"/>
              <a:gd name="T101" fmla="*/ 2147483647 h 4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78"/>
              <a:gd name="T154" fmla="*/ 0 h 49"/>
              <a:gd name="T155" fmla="*/ 78 w 78"/>
              <a:gd name="T156" fmla="*/ 49 h 4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78" h="49">
                <a:moveTo>
                  <a:pt x="12" y="16"/>
                </a:moveTo>
                <a:lnTo>
                  <a:pt x="9" y="16"/>
                </a:lnTo>
                <a:lnTo>
                  <a:pt x="9" y="19"/>
                </a:lnTo>
                <a:lnTo>
                  <a:pt x="7" y="21"/>
                </a:lnTo>
                <a:lnTo>
                  <a:pt x="0" y="20"/>
                </a:lnTo>
                <a:lnTo>
                  <a:pt x="0" y="27"/>
                </a:lnTo>
                <a:lnTo>
                  <a:pt x="2" y="29"/>
                </a:lnTo>
                <a:lnTo>
                  <a:pt x="5" y="32"/>
                </a:lnTo>
                <a:lnTo>
                  <a:pt x="5" y="35"/>
                </a:lnTo>
                <a:lnTo>
                  <a:pt x="2" y="35"/>
                </a:lnTo>
                <a:lnTo>
                  <a:pt x="2" y="41"/>
                </a:lnTo>
                <a:lnTo>
                  <a:pt x="3" y="44"/>
                </a:lnTo>
                <a:lnTo>
                  <a:pt x="11" y="39"/>
                </a:lnTo>
                <a:lnTo>
                  <a:pt x="18" y="37"/>
                </a:lnTo>
                <a:lnTo>
                  <a:pt x="21" y="34"/>
                </a:lnTo>
                <a:lnTo>
                  <a:pt x="28" y="34"/>
                </a:lnTo>
                <a:lnTo>
                  <a:pt x="31" y="37"/>
                </a:lnTo>
                <a:lnTo>
                  <a:pt x="40" y="37"/>
                </a:lnTo>
                <a:lnTo>
                  <a:pt x="40" y="43"/>
                </a:lnTo>
                <a:lnTo>
                  <a:pt x="48" y="46"/>
                </a:lnTo>
                <a:lnTo>
                  <a:pt x="54" y="46"/>
                </a:lnTo>
                <a:lnTo>
                  <a:pt x="59" y="46"/>
                </a:lnTo>
                <a:lnTo>
                  <a:pt x="62" y="49"/>
                </a:lnTo>
                <a:lnTo>
                  <a:pt x="64" y="49"/>
                </a:lnTo>
                <a:lnTo>
                  <a:pt x="69" y="45"/>
                </a:lnTo>
                <a:lnTo>
                  <a:pt x="71" y="43"/>
                </a:lnTo>
                <a:lnTo>
                  <a:pt x="70" y="39"/>
                </a:lnTo>
                <a:lnTo>
                  <a:pt x="67" y="34"/>
                </a:lnTo>
                <a:lnTo>
                  <a:pt x="68" y="30"/>
                </a:lnTo>
                <a:lnTo>
                  <a:pt x="70" y="29"/>
                </a:lnTo>
                <a:lnTo>
                  <a:pt x="70" y="25"/>
                </a:lnTo>
                <a:lnTo>
                  <a:pt x="75" y="25"/>
                </a:lnTo>
                <a:lnTo>
                  <a:pt x="75" y="20"/>
                </a:lnTo>
                <a:lnTo>
                  <a:pt x="73" y="17"/>
                </a:lnTo>
                <a:lnTo>
                  <a:pt x="76" y="15"/>
                </a:lnTo>
                <a:lnTo>
                  <a:pt x="76" y="10"/>
                </a:lnTo>
                <a:lnTo>
                  <a:pt x="78" y="10"/>
                </a:lnTo>
                <a:lnTo>
                  <a:pt x="76" y="6"/>
                </a:lnTo>
                <a:lnTo>
                  <a:pt x="70" y="7"/>
                </a:lnTo>
                <a:lnTo>
                  <a:pt x="60" y="0"/>
                </a:lnTo>
                <a:lnTo>
                  <a:pt x="57" y="3"/>
                </a:lnTo>
                <a:lnTo>
                  <a:pt x="45" y="3"/>
                </a:lnTo>
                <a:lnTo>
                  <a:pt x="43" y="10"/>
                </a:lnTo>
                <a:lnTo>
                  <a:pt x="41" y="10"/>
                </a:lnTo>
                <a:lnTo>
                  <a:pt x="40" y="13"/>
                </a:lnTo>
                <a:lnTo>
                  <a:pt x="37" y="15"/>
                </a:lnTo>
                <a:lnTo>
                  <a:pt x="36" y="19"/>
                </a:lnTo>
                <a:lnTo>
                  <a:pt x="31" y="21"/>
                </a:lnTo>
                <a:lnTo>
                  <a:pt x="22" y="21"/>
                </a:lnTo>
                <a:lnTo>
                  <a:pt x="17" y="21"/>
                </a:lnTo>
                <a:lnTo>
                  <a:pt x="12" y="1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" name="Freeform 74"/>
          <p:cNvSpPr>
            <a:spLocks/>
          </p:cNvSpPr>
          <p:nvPr/>
        </p:nvSpPr>
        <p:spPr bwMode="auto">
          <a:xfrm>
            <a:off x="6365432" y="3921124"/>
            <a:ext cx="1466850" cy="1552575"/>
          </a:xfrm>
          <a:custGeom>
            <a:avLst/>
            <a:gdLst>
              <a:gd name="T0" fmla="*/ 2147483647 w 154"/>
              <a:gd name="T1" fmla="*/ 2147483647 h 163"/>
              <a:gd name="T2" fmla="*/ 2147483647 w 154"/>
              <a:gd name="T3" fmla="*/ 2147483647 h 163"/>
              <a:gd name="T4" fmla="*/ 2147483647 w 154"/>
              <a:gd name="T5" fmla="*/ 2147483647 h 163"/>
              <a:gd name="T6" fmla="*/ 2147483647 w 154"/>
              <a:gd name="T7" fmla="*/ 2147483647 h 163"/>
              <a:gd name="T8" fmla="*/ 2147483647 w 154"/>
              <a:gd name="T9" fmla="*/ 2147483647 h 163"/>
              <a:gd name="T10" fmla="*/ 2147483647 w 154"/>
              <a:gd name="T11" fmla="*/ 2147483647 h 163"/>
              <a:gd name="T12" fmla="*/ 2147483647 w 154"/>
              <a:gd name="T13" fmla="*/ 2147483647 h 163"/>
              <a:gd name="T14" fmla="*/ 2147483647 w 154"/>
              <a:gd name="T15" fmla="*/ 2147483647 h 163"/>
              <a:gd name="T16" fmla="*/ 2147483647 w 154"/>
              <a:gd name="T17" fmla="*/ 2147483647 h 163"/>
              <a:gd name="T18" fmla="*/ 2147483647 w 154"/>
              <a:gd name="T19" fmla="*/ 2147483647 h 163"/>
              <a:gd name="T20" fmla="*/ 2147483647 w 154"/>
              <a:gd name="T21" fmla="*/ 2147483647 h 163"/>
              <a:gd name="T22" fmla="*/ 2147483647 w 154"/>
              <a:gd name="T23" fmla="*/ 2147483647 h 163"/>
              <a:gd name="T24" fmla="*/ 2147483647 w 154"/>
              <a:gd name="T25" fmla="*/ 2147483647 h 163"/>
              <a:gd name="T26" fmla="*/ 2147483647 w 154"/>
              <a:gd name="T27" fmla="*/ 2147483647 h 163"/>
              <a:gd name="T28" fmla="*/ 2147483647 w 154"/>
              <a:gd name="T29" fmla="*/ 2147483647 h 163"/>
              <a:gd name="T30" fmla="*/ 2147483647 w 154"/>
              <a:gd name="T31" fmla="*/ 2147483647 h 163"/>
              <a:gd name="T32" fmla="*/ 2147483647 w 154"/>
              <a:gd name="T33" fmla="*/ 2147483647 h 163"/>
              <a:gd name="T34" fmla="*/ 2147483647 w 154"/>
              <a:gd name="T35" fmla="*/ 2147483647 h 163"/>
              <a:gd name="T36" fmla="*/ 2147483647 w 154"/>
              <a:gd name="T37" fmla="*/ 2147483647 h 163"/>
              <a:gd name="T38" fmla="*/ 2147483647 w 154"/>
              <a:gd name="T39" fmla="*/ 2147483647 h 163"/>
              <a:gd name="T40" fmla="*/ 2147483647 w 154"/>
              <a:gd name="T41" fmla="*/ 2147483647 h 163"/>
              <a:gd name="T42" fmla="*/ 2147483647 w 154"/>
              <a:gd name="T43" fmla="*/ 2147483647 h 163"/>
              <a:gd name="T44" fmla="*/ 2147483647 w 154"/>
              <a:gd name="T45" fmla="*/ 2147483647 h 163"/>
              <a:gd name="T46" fmla="*/ 2147483647 w 154"/>
              <a:gd name="T47" fmla="*/ 2147483647 h 163"/>
              <a:gd name="T48" fmla="*/ 2147483647 w 154"/>
              <a:gd name="T49" fmla="*/ 2147483647 h 163"/>
              <a:gd name="T50" fmla="*/ 2147483647 w 154"/>
              <a:gd name="T51" fmla="*/ 2147483647 h 163"/>
              <a:gd name="T52" fmla="*/ 2147483647 w 154"/>
              <a:gd name="T53" fmla="*/ 2147483647 h 163"/>
              <a:gd name="T54" fmla="*/ 2147483647 w 154"/>
              <a:gd name="T55" fmla="*/ 2147483647 h 163"/>
              <a:gd name="T56" fmla="*/ 2147483647 w 154"/>
              <a:gd name="T57" fmla="*/ 2147483647 h 163"/>
              <a:gd name="T58" fmla="*/ 2147483647 w 154"/>
              <a:gd name="T59" fmla="*/ 2147483647 h 163"/>
              <a:gd name="T60" fmla="*/ 2147483647 w 154"/>
              <a:gd name="T61" fmla="*/ 2147483647 h 163"/>
              <a:gd name="T62" fmla="*/ 2147483647 w 154"/>
              <a:gd name="T63" fmla="*/ 2147483647 h 163"/>
              <a:gd name="T64" fmla="*/ 2147483647 w 154"/>
              <a:gd name="T65" fmla="*/ 2147483647 h 163"/>
              <a:gd name="T66" fmla="*/ 2147483647 w 154"/>
              <a:gd name="T67" fmla="*/ 2147483647 h 163"/>
              <a:gd name="T68" fmla="*/ 2147483647 w 154"/>
              <a:gd name="T69" fmla="*/ 2147483647 h 163"/>
              <a:gd name="T70" fmla="*/ 2147483647 w 154"/>
              <a:gd name="T71" fmla="*/ 2147483647 h 163"/>
              <a:gd name="T72" fmla="*/ 2147483647 w 154"/>
              <a:gd name="T73" fmla="*/ 2147483647 h 163"/>
              <a:gd name="T74" fmla="*/ 2147483647 w 154"/>
              <a:gd name="T75" fmla="*/ 2147483647 h 163"/>
              <a:gd name="T76" fmla="*/ 2147483647 w 154"/>
              <a:gd name="T77" fmla="*/ 2147483647 h 163"/>
              <a:gd name="T78" fmla="*/ 2147483647 w 154"/>
              <a:gd name="T79" fmla="*/ 2147483647 h 163"/>
              <a:gd name="T80" fmla="*/ 2147483647 w 154"/>
              <a:gd name="T81" fmla="*/ 2147483647 h 163"/>
              <a:gd name="T82" fmla="*/ 2147483647 w 154"/>
              <a:gd name="T83" fmla="*/ 2147483647 h 163"/>
              <a:gd name="T84" fmla="*/ 2147483647 w 154"/>
              <a:gd name="T85" fmla="*/ 0 h 163"/>
              <a:gd name="T86" fmla="*/ 2147483647 w 154"/>
              <a:gd name="T87" fmla="*/ 2147483647 h 163"/>
              <a:gd name="T88" fmla="*/ 2147483647 w 154"/>
              <a:gd name="T89" fmla="*/ 2147483647 h 163"/>
              <a:gd name="T90" fmla="*/ 2147483647 w 154"/>
              <a:gd name="T91" fmla="*/ 2147483647 h 163"/>
              <a:gd name="T92" fmla="*/ 2147483647 w 154"/>
              <a:gd name="T93" fmla="*/ 2147483647 h 163"/>
              <a:gd name="T94" fmla="*/ 2147483647 w 154"/>
              <a:gd name="T95" fmla="*/ 2147483647 h 163"/>
              <a:gd name="T96" fmla="*/ 2147483647 w 154"/>
              <a:gd name="T97" fmla="*/ 2147483647 h 163"/>
              <a:gd name="T98" fmla="*/ 2147483647 w 154"/>
              <a:gd name="T99" fmla="*/ 2147483647 h 163"/>
              <a:gd name="T100" fmla="*/ 2147483647 w 154"/>
              <a:gd name="T101" fmla="*/ 2147483647 h 163"/>
              <a:gd name="T102" fmla="*/ 2147483647 w 154"/>
              <a:gd name="T103" fmla="*/ 2147483647 h 163"/>
              <a:gd name="T104" fmla="*/ 2147483647 w 154"/>
              <a:gd name="T105" fmla="*/ 2147483647 h 163"/>
              <a:gd name="T106" fmla="*/ 2147483647 w 154"/>
              <a:gd name="T107" fmla="*/ 2147483647 h 163"/>
              <a:gd name="T108" fmla="*/ 2147483647 w 154"/>
              <a:gd name="T109" fmla="*/ 2147483647 h 163"/>
              <a:gd name="T110" fmla="*/ 2147483647 w 154"/>
              <a:gd name="T111" fmla="*/ 2147483647 h 163"/>
              <a:gd name="T112" fmla="*/ 2147483647 w 154"/>
              <a:gd name="T113" fmla="*/ 2147483647 h 163"/>
              <a:gd name="T114" fmla="*/ 2147483647 w 154"/>
              <a:gd name="T115" fmla="*/ 2147483647 h 163"/>
              <a:gd name="T116" fmla="*/ 2147483647 w 154"/>
              <a:gd name="T117" fmla="*/ 2147483647 h 163"/>
              <a:gd name="T118" fmla="*/ 2147483647 w 154"/>
              <a:gd name="T119" fmla="*/ 2147483647 h 163"/>
              <a:gd name="T120" fmla="*/ 2147483647 w 154"/>
              <a:gd name="T121" fmla="*/ 2147483647 h 163"/>
              <a:gd name="T122" fmla="*/ 0 w 154"/>
              <a:gd name="T123" fmla="*/ 2147483647 h 163"/>
              <a:gd name="T124" fmla="*/ 2147483647 w 154"/>
              <a:gd name="T125" fmla="*/ 2147483647 h 16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54"/>
              <a:gd name="T190" fmla="*/ 0 h 163"/>
              <a:gd name="T191" fmla="*/ 154 w 154"/>
              <a:gd name="T192" fmla="*/ 163 h 16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54" h="163">
                <a:moveTo>
                  <a:pt x="9" y="132"/>
                </a:moveTo>
                <a:lnTo>
                  <a:pt x="19" y="139"/>
                </a:lnTo>
                <a:lnTo>
                  <a:pt x="25" y="138"/>
                </a:lnTo>
                <a:lnTo>
                  <a:pt x="27" y="142"/>
                </a:lnTo>
                <a:lnTo>
                  <a:pt x="33" y="137"/>
                </a:lnTo>
                <a:lnTo>
                  <a:pt x="36" y="139"/>
                </a:lnTo>
                <a:lnTo>
                  <a:pt x="35" y="141"/>
                </a:lnTo>
                <a:lnTo>
                  <a:pt x="43" y="146"/>
                </a:lnTo>
                <a:lnTo>
                  <a:pt x="47" y="151"/>
                </a:lnTo>
                <a:lnTo>
                  <a:pt x="53" y="150"/>
                </a:lnTo>
                <a:lnTo>
                  <a:pt x="57" y="154"/>
                </a:lnTo>
                <a:lnTo>
                  <a:pt x="58" y="160"/>
                </a:lnTo>
                <a:lnTo>
                  <a:pt x="62" y="160"/>
                </a:lnTo>
                <a:lnTo>
                  <a:pt x="62" y="163"/>
                </a:lnTo>
                <a:lnTo>
                  <a:pt x="67" y="160"/>
                </a:lnTo>
                <a:lnTo>
                  <a:pt x="70" y="160"/>
                </a:lnTo>
                <a:lnTo>
                  <a:pt x="70" y="157"/>
                </a:lnTo>
                <a:lnTo>
                  <a:pt x="65" y="157"/>
                </a:lnTo>
                <a:lnTo>
                  <a:pt x="64" y="155"/>
                </a:lnTo>
                <a:lnTo>
                  <a:pt x="74" y="152"/>
                </a:lnTo>
                <a:lnTo>
                  <a:pt x="78" y="144"/>
                </a:lnTo>
                <a:lnTo>
                  <a:pt x="85" y="135"/>
                </a:lnTo>
                <a:lnTo>
                  <a:pt x="90" y="124"/>
                </a:lnTo>
                <a:lnTo>
                  <a:pt x="93" y="116"/>
                </a:lnTo>
                <a:lnTo>
                  <a:pt x="94" y="112"/>
                </a:lnTo>
                <a:lnTo>
                  <a:pt x="92" y="111"/>
                </a:lnTo>
                <a:lnTo>
                  <a:pt x="93" y="101"/>
                </a:lnTo>
                <a:lnTo>
                  <a:pt x="96" y="99"/>
                </a:lnTo>
                <a:lnTo>
                  <a:pt x="92" y="96"/>
                </a:lnTo>
                <a:lnTo>
                  <a:pt x="91" y="93"/>
                </a:lnTo>
                <a:lnTo>
                  <a:pt x="98" y="91"/>
                </a:lnTo>
                <a:lnTo>
                  <a:pt x="98" y="88"/>
                </a:lnTo>
                <a:lnTo>
                  <a:pt x="105" y="88"/>
                </a:lnTo>
                <a:lnTo>
                  <a:pt x="108" y="87"/>
                </a:lnTo>
                <a:lnTo>
                  <a:pt x="108" y="83"/>
                </a:lnTo>
                <a:lnTo>
                  <a:pt x="112" y="84"/>
                </a:lnTo>
                <a:lnTo>
                  <a:pt x="114" y="86"/>
                </a:lnTo>
                <a:lnTo>
                  <a:pt x="116" y="84"/>
                </a:lnTo>
                <a:lnTo>
                  <a:pt x="117" y="87"/>
                </a:lnTo>
                <a:lnTo>
                  <a:pt x="127" y="85"/>
                </a:lnTo>
                <a:lnTo>
                  <a:pt x="132" y="83"/>
                </a:lnTo>
                <a:lnTo>
                  <a:pt x="132" y="78"/>
                </a:lnTo>
                <a:lnTo>
                  <a:pt x="134" y="79"/>
                </a:lnTo>
                <a:lnTo>
                  <a:pt x="135" y="75"/>
                </a:lnTo>
                <a:lnTo>
                  <a:pt x="137" y="76"/>
                </a:lnTo>
                <a:lnTo>
                  <a:pt x="137" y="78"/>
                </a:lnTo>
                <a:lnTo>
                  <a:pt x="136" y="80"/>
                </a:lnTo>
                <a:lnTo>
                  <a:pt x="141" y="81"/>
                </a:lnTo>
                <a:lnTo>
                  <a:pt x="149" y="78"/>
                </a:lnTo>
                <a:lnTo>
                  <a:pt x="149" y="73"/>
                </a:lnTo>
                <a:lnTo>
                  <a:pt x="143" y="69"/>
                </a:lnTo>
                <a:lnTo>
                  <a:pt x="143" y="63"/>
                </a:lnTo>
                <a:lnTo>
                  <a:pt x="145" y="59"/>
                </a:lnTo>
                <a:lnTo>
                  <a:pt x="154" y="60"/>
                </a:lnTo>
                <a:lnTo>
                  <a:pt x="149" y="51"/>
                </a:lnTo>
                <a:lnTo>
                  <a:pt x="147" y="44"/>
                </a:lnTo>
                <a:lnTo>
                  <a:pt x="143" y="42"/>
                </a:lnTo>
                <a:lnTo>
                  <a:pt x="140" y="45"/>
                </a:lnTo>
                <a:lnTo>
                  <a:pt x="137" y="45"/>
                </a:lnTo>
                <a:lnTo>
                  <a:pt x="137" y="41"/>
                </a:lnTo>
                <a:lnTo>
                  <a:pt x="131" y="36"/>
                </a:lnTo>
                <a:lnTo>
                  <a:pt x="123" y="37"/>
                </a:lnTo>
                <a:lnTo>
                  <a:pt x="118" y="45"/>
                </a:lnTo>
                <a:lnTo>
                  <a:pt x="115" y="52"/>
                </a:lnTo>
                <a:lnTo>
                  <a:pt x="110" y="57"/>
                </a:lnTo>
                <a:lnTo>
                  <a:pt x="107" y="54"/>
                </a:lnTo>
                <a:lnTo>
                  <a:pt x="105" y="57"/>
                </a:lnTo>
                <a:lnTo>
                  <a:pt x="99" y="57"/>
                </a:lnTo>
                <a:lnTo>
                  <a:pt x="95" y="62"/>
                </a:lnTo>
                <a:lnTo>
                  <a:pt x="90" y="59"/>
                </a:lnTo>
                <a:lnTo>
                  <a:pt x="90" y="49"/>
                </a:lnTo>
                <a:lnTo>
                  <a:pt x="90" y="44"/>
                </a:lnTo>
                <a:lnTo>
                  <a:pt x="94" y="37"/>
                </a:lnTo>
                <a:lnTo>
                  <a:pt x="93" y="35"/>
                </a:lnTo>
                <a:lnTo>
                  <a:pt x="89" y="35"/>
                </a:lnTo>
                <a:lnTo>
                  <a:pt x="86" y="29"/>
                </a:lnTo>
                <a:lnTo>
                  <a:pt x="88" y="26"/>
                </a:lnTo>
                <a:lnTo>
                  <a:pt x="89" y="23"/>
                </a:lnTo>
                <a:lnTo>
                  <a:pt x="89" y="20"/>
                </a:lnTo>
                <a:lnTo>
                  <a:pt x="84" y="20"/>
                </a:lnTo>
                <a:lnTo>
                  <a:pt x="84" y="13"/>
                </a:lnTo>
                <a:lnTo>
                  <a:pt x="81" y="7"/>
                </a:lnTo>
                <a:lnTo>
                  <a:pt x="77" y="8"/>
                </a:lnTo>
                <a:lnTo>
                  <a:pt x="76" y="5"/>
                </a:lnTo>
                <a:lnTo>
                  <a:pt x="79" y="5"/>
                </a:lnTo>
                <a:lnTo>
                  <a:pt x="76" y="0"/>
                </a:lnTo>
                <a:lnTo>
                  <a:pt x="71" y="3"/>
                </a:lnTo>
                <a:lnTo>
                  <a:pt x="66" y="3"/>
                </a:lnTo>
                <a:lnTo>
                  <a:pt x="65" y="8"/>
                </a:lnTo>
                <a:lnTo>
                  <a:pt x="67" y="11"/>
                </a:lnTo>
                <a:lnTo>
                  <a:pt x="64" y="17"/>
                </a:lnTo>
                <a:lnTo>
                  <a:pt x="68" y="21"/>
                </a:lnTo>
                <a:lnTo>
                  <a:pt x="66" y="30"/>
                </a:lnTo>
                <a:lnTo>
                  <a:pt x="64" y="35"/>
                </a:lnTo>
                <a:lnTo>
                  <a:pt x="58" y="37"/>
                </a:lnTo>
                <a:lnTo>
                  <a:pt x="58" y="39"/>
                </a:lnTo>
                <a:lnTo>
                  <a:pt x="60" y="39"/>
                </a:lnTo>
                <a:lnTo>
                  <a:pt x="58" y="43"/>
                </a:lnTo>
                <a:lnTo>
                  <a:pt x="60" y="49"/>
                </a:lnTo>
                <a:lnTo>
                  <a:pt x="65" y="50"/>
                </a:lnTo>
                <a:lnTo>
                  <a:pt x="65" y="54"/>
                </a:lnTo>
                <a:lnTo>
                  <a:pt x="61" y="57"/>
                </a:lnTo>
                <a:lnTo>
                  <a:pt x="61" y="60"/>
                </a:lnTo>
                <a:lnTo>
                  <a:pt x="65" y="62"/>
                </a:lnTo>
                <a:lnTo>
                  <a:pt x="64" y="67"/>
                </a:lnTo>
                <a:lnTo>
                  <a:pt x="60" y="70"/>
                </a:lnTo>
                <a:lnTo>
                  <a:pt x="55" y="68"/>
                </a:lnTo>
                <a:lnTo>
                  <a:pt x="52" y="62"/>
                </a:lnTo>
                <a:lnTo>
                  <a:pt x="47" y="64"/>
                </a:lnTo>
                <a:lnTo>
                  <a:pt x="48" y="70"/>
                </a:lnTo>
                <a:lnTo>
                  <a:pt x="38" y="80"/>
                </a:lnTo>
                <a:lnTo>
                  <a:pt x="38" y="87"/>
                </a:lnTo>
                <a:lnTo>
                  <a:pt x="35" y="87"/>
                </a:lnTo>
                <a:lnTo>
                  <a:pt x="31" y="78"/>
                </a:lnTo>
                <a:lnTo>
                  <a:pt x="28" y="83"/>
                </a:lnTo>
                <a:lnTo>
                  <a:pt x="17" y="81"/>
                </a:lnTo>
                <a:lnTo>
                  <a:pt x="13" y="92"/>
                </a:lnTo>
                <a:lnTo>
                  <a:pt x="18" y="98"/>
                </a:lnTo>
                <a:lnTo>
                  <a:pt x="16" y="103"/>
                </a:lnTo>
                <a:lnTo>
                  <a:pt x="11" y="103"/>
                </a:lnTo>
                <a:lnTo>
                  <a:pt x="9" y="109"/>
                </a:lnTo>
                <a:lnTo>
                  <a:pt x="8" y="120"/>
                </a:lnTo>
                <a:lnTo>
                  <a:pt x="3" y="120"/>
                </a:lnTo>
                <a:lnTo>
                  <a:pt x="0" y="124"/>
                </a:lnTo>
                <a:lnTo>
                  <a:pt x="4" y="129"/>
                </a:lnTo>
                <a:lnTo>
                  <a:pt x="9" y="132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5" name="Freeform 75"/>
          <p:cNvSpPr>
            <a:spLocks/>
          </p:cNvSpPr>
          <p:nvPr/>
        </p:nvSpPr>
        <p:spPr bwMode="auto">
          <a:xfrm>
            <a:off x="6898832" y="2178049"/>
            <a:ext cx="2247900" cy="2457450"/>
          </a:xfrm>
          <a:custGeom>
            <a:avLst/>
            <a:gdLst>
              <a:gd name="T0" fmla="*/ 2147483647 w 236"/>
              <a:gd name="T1" fmla="*/ 2147483647 h 258"/>
              <a:gd name="T2" fmla="*/ 2147483647 w 236"/>
              <a:gd name="T3" fmla="*/ 2147483647 h 258"/>
              <a:gd name="T4" fmla="*/ 2147483647 w 236"/>
              <a:gd name="T5" fmla="*/ 2147483647 h 258"/>
              <a:gd name="T6" fmla="*/ 2147483647 w 236"/>
              <a:gd name="T7" fmla="*/ 2147483647 h 258"/>
              <a:gd name="T8" fmla="*/ 2147483647 w 236"/>
              <a:gd name="T9" fmla="*/ 2147483647 h 258"/>
              <a:gd name="T10" fmla="*/ 2147483647 w 236"/>
              <a:gd name="T11" fmla="*/ 2147483647 h 258"/>
              <a:gd name="T12" fmla="*/ 2147483647 w 236"/>
              <a:gd name="T13" fmla="*/ 2147483647 h 258"/>
              <a:gd name="T14" fmla="*/ 2147483647 w 236"/>
              <a:gd name="T15" fmla="*/ 2147483647 h 258"/>
              <a:gd name="T16" fmla="*/ 2147483647 w 236"/>
              <a:gd name="T17" fmla="*/ 2147483647 h 258"/>
              <a:gd name="T18" fmla="*/ 2147483647 w 236"/>
              <a:gd name="T19" fmla="*/ 2147483647 h 258"/>
              <a:gd name="T20" fmla="*/ 2147483647 w 236"/>
              <a:gd name="T21" fmla="*/ 2147483647 h 258"/>
              <a:gd name="T22" fmla="*/ 2147483647 w 236"/>
              <a:gd name="T23" fmla="*/ 2147483647 h 258"/>
              <a:gd name="T24" fmla="*/ 2147483647 w 236"/>
              <a:gd name="T25" fmla="*/ 2147483647 h 258"/>
              <a:gd name="T26" fmla="*/ 2147483647 w 236"/>
              <a:gd name="T27" fmla="*/ 2147483647 h 258"/>
              <a:gd name="T28" fmla="*/ 2147483647 w 236"/>
              <a:gd name="T29" fmla="*/ 2147483647 h 258"/>
              <a:gd name="T30" fmla="*/ 2147483647 w 236"/>
              <a:gd name="T31" fmla="*/ 2147483647 h 258"/>
              <a:gd name="T32" fmla="*/ 2147483647 w 236"/>
              <a:gd name="T33" fmla="*/ 2147483647 h 258"/>
              <a:gd name="T34" fmla="*/ 2147483647 w 236"/>
              <a:gd name="T35" fmla="*/ 2147483647 h 258"/>
              <a:gd name="T36" fmla="*/ 2147483647 w 236"/>
              <a:gd name="T37" fmla="*/ 2147483647 h 258"/>
              <a:gd name="T38" fmla="*/ 2147483647 w 236"/>
              <a:gd name="T39" fmla="*/ 2147483647 h 258"/>
              <a:gd name="T40" fmla="*/ 2147483647 w 236"/>
              <a:gd name="T41" fmla="*/ 2147483647 h 258"/>
              <a:gd name="T42" fmla="*/ 2147483647 w 236"/>
              <a:gd name="T43" fmla="*/ 2147483647 h 258"/>
              <a:gd name="T44" fmla="*/ 2147483647 w 236"/>
              <a:gd name="T45" fmla="*/ 2147483647 h 258"/>
              <a:gd name="T46" fmla="*/ 2147483647 w 236"/>
              <a:gd name="T47" fmla="*/ 2147483647 h 258"/>
              <a:gd name="T48" fmla="*/ 2147483647 w 236"/>
              <a:gd name="T49" fmla="*/ 2147483647 h 258"/>
              <a:gd name="T50" fmla="*/ 2147483647 w 236"/>
              <a:gd name="T51" fmla="*/ 2147483647 h 258"/>
              <a:gd name="T52" fmla="*/ 2147483647 w 236"/>
              <a:gd name="T53" fmla="*/ 2147483647 h 258"/>
              <a:gd name="T54" fmla="*/ 2147483647 w 236"/>
              <a:gd name="T55" fmla="*/ 2147483647 h 258"/>
              <a:gd name="T56" fmla="*/ 2147483647 w 236"/>
              <a:gd name="T57" fmla="*/ 2147483647 h 258"/>
              <a:gd name="T58" fmla="*/ 2147483647 w 236"/>
              <a:gd name="T59" fmla="*/ 2147483647 h 258"/>
              <a:gd name="T60" fmla="*/ 2147483647 w 236"/>
              <a:gd name="T61" fmla="*/ 2147483647 h 258"/>
              <a:gd name="T62" fmla="*/ 2147483647 w 236"/>
              <a:gd name="T63" fmla="*/ 2147483647 h 258"/>
              <a:gd name="T64" fmla="*/ 2147483647 w 236"/>
              <a:gd name="T65" fmla="*/ 2147483647 h 258"/>
              <a:gd name="T66" fmla="*/ 2147483647 w 236"/>
              <a:gd name="T67" fmla="*/ 2147483647 h 258"/>
              <a:gd name="T68" fmla="*/ 2147483647 w 236"/>
              <a:gd name="T69" fmla="*/ 2147483647 h 258"/>
              <a:gd name="T70" fmla="*/ 2147483647 w 236"/>
              <a:gd name="T71" fmla="*/ 2147483647 h 258"/>
              <a:gd name="T72" fmla="*/ 2147483647 w 236"/>
              <a:gd name="T73" fmla="*/ 2147483647 h 258"/>
              <a:gd name="T74" fmla="*/ 2147483647 w 236"/>
              <a:gd name="T75" fmla="*/ 2147483647 h 258"/>
              <a:gd name="T76" fmla="*/ 2147483647 w 236"/>
              <a:gd name="T77" fmla="*/ 2147483647 h 258"/>
              <a:gd name="T78" fmla="*/ 2147483647 w 236"/>
              <a:gd name="T79" fmla="*/ 2147483647 h 258"/>
              <a:gd name="T80" fmla="*/ 2147483647 w 236"/>
              <a:gd name="T81" fmla="*/ 2147483647 h 258"/>
              <a:gd name="T82" fmla="*/ 2147483647 w 236"/>
              <a:gd name="T83" fmla="*/ 2147483647 h 258"/>
              <a:gd name="T84" fmla="*/ 2147483647 w 236"/>
              <a:gd name="T85" fmla="*/ 2147483647 h 258"/>
              <a:gd name="T86" fmla="*/ 2147483647 w 236"/>
              <a:gd name="T87" fmla="*/ 2147483647 h 258"/>
              <a:gd name="T88" fmla="*/ 2147483647 w 236"/>
              <a:gd name="T89" fmla="*/ 2147483647 h 258"/>
              <a:gd name="T90" fmla="*/ 2147483647 w 236"/>
              <a:gd name="T91" fmla="*/ 2147483647 h 258"/>
              <a:gd name="T92" fmla="*/ 2147483647 w 236"/>
              <a:gd name="T93" fmla="*/ 2147483647 h 258"/>
              <a:gd name="T94" fmla="*/ 0 w 236"/>
              <a:gd name="T95" fmla="*/ 2147483647 h 258"/>
              <a:gd name="T96" fmla="*/ 2147483647 w 236"/>
              <a:gd name="T97" fmla="*/ 2147483647 h 258"/>
              <a:gd name="T98" fmla="*/ 2147483647 w 236"/>
              <a:gd name="T99" fmla="*/ 2147483647 h 258"/>
              <a:gd name="T100" fmla="*/ 2147483647 w 236"/>
              <a:gd name="T101" fmla="*/ 2147483647 h 258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36"/>
              <a:gd name="T154" fmla="*/ 0 h 258"/>
              <a:gd name="T155" fmla="*/ 236 w 236"/>
              <a:gd name="T156" fmla="*/ 258 h 258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36" h="258">
                <a:moveTo>
                  <a:pt x="20" y="183"/>
                </a:moveTo>
                <a:lnTo>
                  <a:pt x="23" y="188"/>
                </a:lnTo>
                <a:lnTo>
                  <a:pt x="20" y="188"/>
                </a:lnTo>
                <a:lnTo>
                  <a:pt x="21" y="191"/>
                </a:lnTo>
                <a:lnTo>
                  <a:pt x="25" y="190"/>
                </a:lnTo>
                <a:lnTo>
                  <a:pt x="28" y="196"/>
                </a:lnTo>
                <a:lnTo>
                  <a:pt x="28" y="203"/>
                </a:lnTo>
                <a:lnTo>
                  <a:pt x="33" y="203"/>
                </a:lnTo>
                <a:lnTo>
                  <a:pt x="33" y="206"/>
                </a:lnTo>
                <a:lnTo>
                  <a:pt x="32" y="209"/>
                </a:lnTo>
                <a:lnTo>
                  <a:pt x="30" y="212"/>
                </a:lnTo>
                <a:lnTo>
                  <a:pt x="33" y="218"/>
                </a:lnTo>
                <a:lnTo>
                  <a:pt x="37" y="218"/>
                </a:lnTo>
                <a:lnTo>
                  <a:pt x="38" y="220"/>
                </a:lnTo>
                <a:lnTo>
                  <a:pt x="34" y="227"/>
                </a:lnTo>
                <a:lnTo>
                  <a:pt x="34" y="232"/>
                </a:lnTo>
                <a:lnTo>
                  <a:pt x="34" y="242"/>
                </a:lnTo>
                <a:lnTo>
                  <a:pt x="39" y="245"/>
                </a:lnTo>
                <a:lnTo>
                  <a:pt x="43" y="240"/>
                </a:lnTo>
                <a:lnTo>
                  <a:pt x="49" y="240"/>
                </a:lnTo>
                <a:lnTo>
                  <a:pt x="51" y="237"/>
                </a:lnTo>
                <a:lnTo>
                  <a:pt x="54" y="240"/>
                </a:lnTo>
                <a:lnTo>
                  <a:pt x="59" y="235"/>
                </a:lnTo>
                <a:lnTo>
                  <a:pt x="62" y="228"/>
                </a:lnTo>
                <a:lnTo>
                  <a:pt x="67" y="220"/>
                </a:lnTo>
                <a:lnTo>
                  <a:pt x="75" y="219"/>
                </a:lnTo>
                <a:lnTo>
                  <a:pt x="81" y="224"/>
                </a:lnTo>
                <a:lnTo>
                  <a:pt x="81" y="228"/>
                </a:lnTo>
                <a:lnTo>
                  <a:pt x="84" y="228"/>
                </a:lnTo>
                <a:lnTo>
                  <a:pt x="87" y="225"/>
                </a:lnTo>
                <a:lnTo>
                  <a:pt x="91" y="227"/>
                </a:lnTo>
                <a:lnTo>
                  <a:pt x="93" y="234"/>
                </a:lnTo>
                <a:lnTo>
                  <a:pt x="98" y="243"/>
                </a:lnTo>
                <a:lnTo>
                  <a:pt x="98" y="245"/>
                </a:lnTo>
                <a:lnTo>
                  <a:pt x="101" y="249"/>
                </a:lnTo>
                <a:lnTo>
                  <a:pt x="104" y="257"/>
                </a:lnTo>
                <a:lnTo>
                  <a:pt x="107" y="256"/>
                </a:lnTo>
                <a:lnTo>
                  <a:pt x="108" y="254"/>
                </a:lnTo>
                <a:lnTo>
                  <a:pt x="116" y="251"/>
                </a:lnTo>
                <a:lnTo>
                  <a:pt x="119" y="254"/>
                </a:lnTo>
                <a:lnTo>
                  <a:pt x="122" y="253"/>
                </a:lnTo>
                <a:lnTo>
                  <a:pt x="127" y="258"/>
                </a:lnTo>
                <a:lnTo>
                  <a:pt x="129" y="253"/>
                </a:lnTo>
                <a:lnTo>
                  <a:pt x="136" y="254"/>
                </a:lnTo>
                <a:lnTo>
                  <a:pt x="141" y="258"/>
                </a:lnTo>
                <a:lnTo>
                  <a:pt x="149" y="254"/>
                </a:lnTo>
                <a:lnTo>
                  <a:pt x="152" y="257"/>
                </a:lnTo>
                <a:lnTo>
                  <a:pt x="165" y="250"/>
                </a:lnTo>
                <a:lnTo>
                  <a:pt x="168" y="251"/>
                </a:lnTo>
                <a:lnTo>
                  <a:pt x="173" y="250"/>
                </a:lnTo>
                <a:lnTo>
                  <a:pt x="171" y="247"/>
                </a:lnTo>
                <a:lnTo>
                  <a:pt x="182" y="241"/>
                </a:lnTo>
                <a:lnTo>
                  <a:pt x="178" y="234"/>
                </a:lnTo>
                <a:lnTo>
                  <a:pt x="182" y="231"/>
                </a:lnTo>
                <a:lnTo>
                  <a:pt x="181" y="227"/>
                </a:lnTo>
                <a:lnTo>
                  <a:pt x="176" y="225"/>
                </a:lnTo>
                <a:lnTo>
                  <a:pt x="177" y="217"/>
                </a:lnTo>
                <a:lnTo>
                  <a:pt x="173" y="213"/>
                </a:lnTo>
                <a:lnTo>
                  <a:pt x="175" y="211"/>
                </a:lnTo>
                <a:lnTo>
                  <a:pt x="174" y="195"/>
                </a:lnTo>
                <a:lnTo>
                  <a:pt x="188" y="191"/>
                </a:lnTo>
                <a:lnTo>
                  <a:pt x="188" y="186"/>
                </a:lnTo>
                <a:lnTo>
                  <a:pt x="192" y="186"/>
                </a:lnTo>
                <a:lnTo>
                  <a:pt x="196" y="182"/>
                </a:lnTo>
                <a:lnTo>
                  <a:pt x="196" y="177"/>
                </a:lnTo>
                <a:lnTo>
                  <a:pt x="201" y="175"/>
                </a:lnTo>
                <a:lnTo>
                  <a:pt x="197" y="166"/>
                </a:lnTo>
                <a:lnTo>
                  <a:pt x="192" y="164"/>
                </a:lnTo>
                <a:lnTo>
                  <a:pt x="192" y="157"/>
                </a:lnTo>
                <a:lnTo>
                  <a:pt x="195" y="152"/>
                </a:lnTo>
                <a:lnTo>
                  <a:pt x="191" y="146"/>
                </a:lnTo>
                <a:lnTo>
                  <a:pt x="192" y="139"/>
                </a:lnTo>
                <a:lnTo>
                  <a:pt x="198" y="140"/>
                </a:lnTo>
                <a:lnTo>
                  <a:pt x="207" y="139"/>
                </a:lnTo>
                <a:lnTo>
                  <a:pt x="209" y="135"/>
                </a:lnTo>
                <a:lnTo>
                  <a:pt x="214" y="135"/>
                </a:lnTo>
                <a:lnTo>
                  <a:pt x="216" y="130"/>
                </a:lnTo>
                <a:lnTo>
                  <a:pt x="211" y="121"/>
                </a:lnTo>
                <a:lnTo>
                  <a:pt x="206" y="110"/>
                </a:lnTo>
                <a:lnTo>
                  <a:pt x="206" y="104"/>
                </a:lnTo>
                <a:lnTo>
                  <a:pt x="214" y="99"/>
                </a:lnTo>
                <a:lnTo>
                  <a:pt x="212" y="96"/>
                </a:lnTo>
                <a:lnTo>
                  <a:pt x="212" y="92"/>
                </a:lnTo>
                <a:lnTo>
                  <a:pt x="218" y="89"/>
                </a:lnTo>
                <a:lnTo>
                  <a:pt x="223" y="89"/>
                </a:lnTo>
                <a:lnTo>
                  <a:pt x="229" y="82"/>
                </a:lnTo>
                <a:lnTo>
                  <a:pt x="228" y="77"/>
                </a:lnTo>
                <a:lnTo>
                  <a:pt x="225" y="74"/>
                </a:lnTo>
                <a:lnTo>
                  <a:pt x="225" y="69"/>
                </a:lnTo>
                <a:lnTo>
                  <a:pt x="221" y="65"/>
                </a:lnTo>
                <a:lnTo>
                  <a:pt x="225" y="62"/>
                </a:lnTo>
                <a:lnTo>
                  <a:pt x="221" y="58"/>
                </a:lnTo>
                <a:lnTo>
                  <a:pt x="229" y="51"/>
                </a:lnTo>
                <a:lnTo>
                  <a:pt x="232" y="51"/>
                </a:lnTo>
                <a:lnTo>
                  <a:pt x="236" y="45"/>
                </a:lnTo>
                <a:lnTo>
                  <a:pt x="234" y="41"/>
                </a:lnTo>
                <a:lnTo>
                  <a:pt x="230" y="34"/>
                </a:lnTo>
                <a:lnTo>
                  <a:pt x="223" y="35"/>
                </a:lnTo>
                <a:lnTo>
                  <a:pt x="219" y="32"/>
                </a:lnTo>
                <a:lnTo>
                  <a:pt x="217" y="25"/>
                </a:lnTo>
                <a:lnTo>
                  <a:pt x="222" y="20"/>
                </a:lnTo>
                <a:lnTo>
                  <a:pt x="226" y="16"/>
                </a:lnTo>
                <a:lnTo>
                  <a:pt x="226" y="9"/>
                </a:lnTo>
                <a:lnTo>
                  <a:pt x="221" y="4"/>
                </a:lnTo>
                <a:lnTo>
                  <a:pt x="213" y="0"/>
                </a:lnTo>
                <a:lnTo>
                  <a:pt x="211" y="5"/>
                </a:lnTo>
                <a:lnTo>
                  <a:pt x="203" y="8"/>
                </a:lnTo>
                <a:lnTo>
                  <a:pt x="199" y="2"/>
                </a:lnTo>
                <a:lnTo>
                  <a:pt x="192" y="1"/>
                </a:lnTo>
                <a:lnTo>
                  <a:pt x="184" y="5"/>
                </a:lnTo>
                <a:lnTo>
                  <a:pt x="177" y="13"/>
                </a:lnTo>
                <a:lnTo>
                  <a:pt x="175" y="22"/>
                </a:lnTo>
                <a:lnTo>
                  <a:pt x="171" y="22"/>
                </a:lnTo>
                <a:lnTo>
                  <a:pt x="167" y="19"/>
                </a:lnTo>
                <a:lnTo>
                  <a:pt x="162" y="19"/>
                </a:lnTo>
                <a:lnTo>
                  <a:pt x="161" y="23"/>
                </a:lnTo>
                <a:lnTo>
                  <a:pt x="158" y="21"/>
                </a:lnTo>
                <a:lnTo>
                  <a:pt x="157" y="23"/>
                </a:lnTo>
                <a:lnTo>
                  <a:pt x="154" y="21"/>
                </a:lnTo>
                <a:lnTo>
                  <a:pt x="157" y="19"/>
                </a:lnTo>
                <a:lnTo>
                  <a:pt x="157" y="17"/>
                </a:lnTo>
                <a:lnTo>
                  <a:pt x="150" y="17"/>
                </a:lnTo>
                <a:lnTo>
                  <a:pt x="144" y="22"/>
                </a:lnTo>
                <a:lnTo>
                  <a:pt x="145" y="26"/>
                </a:lnTo>
                <a:lnTo>
                  <a:pt x="146" y="29"/>
                </a:lnTo>
                <a:lnTo>
                  <a:pt x="142" y="33"/>
                </a:lnTo>
                <a:lnTo>
                  <a:pt x="142" y="29"/>
                </a:lnTo>
                <a:lnTo>
                  <a:pt x="141" y="28"/>
                </a:lnTo>
                <a:lnTo>
                  <a:pt x="144" y="27"/>
                </a:lnTo>
                <a:lnTo>
                  <a:pt x="143" y="24"/>
                </a:lnTo>
                <a:lnTo>
                  <a:pt x="139" y="25"/>
                </a:lnTo>
                <a:lnTo>
                  <a:pt x="139" y="27"/>
                </a:lnTo>
                <a:lnTo>
                  <a:pt x="138" y="27"/>
                </a:lnTo>
                <a:lnTo>
                  <a:pt x="137" y="32"/>
                </a:lnTo>
                <a:lnTo>
                  <a:pt x="135" y="27"/>
                </a:lnTo>
                <a:lnTo>
                  <a:pt x="140" y="23"/>
                </a:lnTo>
                <a:lnTo>
                  <a:pt x="137" y="22"/>
                </a:lnTo>
                <a:lnTo>
                  <a:pt x="120" y="30"/>
                </a:lnTo>
                <a:lnTo>
                  <a:pt x="123" y="34"/>
                </a:lnTo>
                <a:lnTo>
                  <a:pt x="118" y="38"/>
                </a:lnTo>
                <a:lnTo>
                  <a:pt x="121" y="43"/>
                </a:lnTo>
                <a:lnTo>
                  <a:pt x="122" y="39"/>
                </a:lnTo>
                <a:lnTo>
                  <a:pt x="124" y="39"/>
                </a:lnTo>
                <a:lnTo>
                  <a:pt x="123" y="44"/>
                </a:lnTo>
                <a:lnTo>
                  <a:pt x="128" y="48"/>
                </a:lnTo>
                <a:lnTo>
                  <a:pt x="120" y="49"/>
                </a:lnTo>
                <a:lnTo>
                  <a:pt x="121" y="55"/>
                </a:lnTo>
                <a:lnTo>
                  <a:pt x="111" y="55"/>
                </a:lnTo>
                <a:lnTo>
                  <a:pt x="109" y="61"/>
                </a:lnTo>
                <a:lnTo>
                  <a:pt x="98" y="59"/>
                </a:lnTo>
                <a:lnTo>
                  <a:pt x="99" y="75"/>
                </a:lnTo>
                <a:lnTo>
                  <a:pt x="94" y="75"/>
                </a:lnTo>
                <a:lnTo>
                  <a:pt x="89" y="69"/>
                </a:lnTo>
                <a:lnTo>
                  <a:pt x="81" y="63"/>
                </a:lnTo>
                <a:lnTo>
                  <a:pt x="85" y="61"/>
                </a:lnTo>
                <a:lnTo>
                  <a:pt x="80" y="52"/>
                </a:lnTo>
                <a:lnTo>
                  <a:pt x="74" y="48"/>
                </a:lnTo>
                <a:lnTo>
                  <a:pt x="68" y="51"/>
                </a:lnTo>
                <a:lnTo>
                  <a:pt x="59" y="47"/>
                </a:lnTo>
                <a:lnTo>
                  <a:pt x="59" y="59"/>
                </a:lnTo>
                <a:lnTo>
                  <a:pt x="48" y="64"/>
                </a:lnTo>
                <a:lnTo>
                  <a:pt x="41" y="62"/>
                </a:lnTo>
                <a:lnTo>
                  <a:pt x="41" y="58"/>
                </a:lnTo>
                <a:lnTo>
                  <a:pt x="28" y="58"/>
                </a:lnTo>
                <a:lnTo>
                  <a:pt x="24" y="62"/>
                </a:lnTo>
                <a:lnTo>
                  <a:pt x="25" y="67"/>
                </a:lnTo>
                <a:lnTo>
                  <a:pt x="20" y="57"/>
                </a:lnTo>
                <a:lnTo>
                  <a:pt x="20" y="51"/>
                </a:lnTo>
                <a:lnTo>
                  <a:pt x="16" y="50"/>
                </a:lnTo>
                <a:lnTo>
                  <a:pt x="15" y="55"/>
                </a:lnTo>
                <a:lnTo>
                  <a:pt x="18" y="57"/>
                </a:lnTo>
                <a:lnTo>
                  <a:pt x="19" y="59"/>
                </a:lnTo>
                <a:lnTo>
                  <a:pt x="19" y="61"/>
                </a:lnTo>
                <a:lnTo>
                  <a:pt x="14" y="63"/>
                </a:lnTo>
                <a:lnTo>
                  <a:pt x="13" y="58"/>
                </a:lnTo>
                <a:lnTo>
                  <a:pt x="9" y="59"/>
                </a:lnTo>
                <a:lnTo>
                  <a:pt x="8" y="63"/>
                </a:lnTo>
                <a:lnTo>
                  <a:pt x="10" y="64"/>
                </a:lnTo>
                <a:lnTo>
                  <a:pt x="13" y="64"/>
                </a:lnTo>
                <a:lnTo>
                  <a:pt x="12" y="69"/>
                </a:lnTo>
                <a:lnTo>
                  <a:pt x="15" y="71"/>
                </a:lnTo>
                <a:lnTo>
                  <a:pt x="15" y="77"/>
                </a:lnTo>
                <a:lnTo>
                  <a:pt x="20" y="83"/>
                </a:lnTo>
                <a:lnTo>
                  <a:pt x="21" y="91"/>
                </a:lnTo>
                <a:lnTo>
                  <a:pt x="25" y="92"/>
                </a:lnTo>
                <a:lnTo>
                  <a:pt x="25" y="95"/>
                </a:lnTo>
                <a:lnTo>
                  <a:pt x="17" y="100"/>
                </a:lnTo>
                <a:lnTo>
                  <a:pt x="16" y="105"/>
                </a:lnTo>
                <a:lnTo>
                  <a:pt x="13" y="107"/>
                </a:lnTo>
                <a:lnTo>
                  <a:pt x="14" y="113"/>
                </a:lnTo>
                <a:lnTo>
                  <a:pt x="10" y="112"/>
                </a:lnTo>
                <a:lnTo>
                  <a:pt x="0" y="119"/>
                </a:lnTo>
                <a:lnTo>
                  <a:pt x="6" y="126"/>
                </a:lnTo>
                <a:lnTo>
                  <a:pt x="7" y="147"/>
                </a:lnTo>
                <a:lnTo>
                  <a:pt x="3" y="151"/>
                </a:lnTo>
                <a:lnTo>
                  <a:pt x="5" y="154"/>
                </a:lnTo>
                <a:lnTo>
                  <a:pt x="5" y="159"/>
                </a:lnTo>
                <a:lnTo>
                  <a:pt x="7" y="162"/>
                </a:lnTo>
                <a:lnTo>
                  <a:pt x="7" y="166"/>
                </a:lnTo>
                <a:lnTo>
                  <a:pt x="12" y="168"/>
                </a:lnTo>
                <a:lnTo>
                  <a:pt x="5" y="174"/>
                </a:lnTo>
                <a:lnTo>
                  <a:pt x="5" y="181"/>
                </a:lnTo>
                <a:lnTo>
                  <a:pt x="11" y="180"/>
                </a:lnTo>
                <a:lnTo>
                  <a:pt x="13" y="183"/>
                </a:lnTo>
                <a:lnTo>
                  <a:pt x="15" y="183"/>
                </a:lnTo>
                <a:lnTo>
                  <a:pt x="18" y="180"/>
                </a:lnTo>
                <a:lnTo>
                  <a:pt x="20" y="18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6" name="Freeform 76"/>
          <p:cNvSpPr>
            <a:spLocks/>
          </p:cNvSpPr>
          <p:nvPr/>
        </p:nvSpPr>
        <p:spPr bwMode="auto">
          <a:xfrm>
            <a:off x="5860607" y="2778124"/>
            <a:ext cx="57150" cy="76200"/>
          </a:xfrm>
          <a:custGeom>
            <a:avLst/>
            <a:gdLst>
              <a:gd name="T0" fmla="*/ 0 w 6"/>
              <a:gd name="T1" fmla="*/ 2147483647 h 8"/>
              <a:gd name="T2" fmla="*/ 0 w 6"/>
              <a:gd name="T3" fmla="*/ 0 h 8"/>
              <a:gd name="T4" fmla="*/ 2147483647 w 6"/>
              <a:gd name="T5" fmla="*/ 0 h 8"/>
              <a:gd name="T6" fmla="*/ 2147483647 w 6"/>
              <a:gd name="T7" fmla="*/ 2147483647 h 8"/>
              <a:gd name="T8" fmla="*/ 0 w 6"/>
              <a:gd name="T9" fmla="*/ 2147483647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8"/>
              <a:gd name="T17" fmla="*/ 6 w 6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8">
                <a:moveTo>
                  <a:pt x="0" y="3"/>
                </a:moveTo>
                <a:lnTo>
                  <a:pt x="0" y="0"/>
                </a:lnTo>
                <a:lnTo>
                  <a:pt x="4" y="0"/>
                </a:lnTo>
                <a:lnTo>
                  <a:pt x="6" y="8"/>
                </a:lnTo>
                <a:lnTo>
                  <a:pt x="0" y="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7" name="Freeform 77"/>
          <p:cNvSpPr>
            <a:spLocks/>
          </p:cNvSpPr>
          <p:nvPr/>
        </p:nvSpPr>
        <p:spPr bwMode="auto">
          <a:xfrm>
            <a:off x="5927282" y="2587624"/>
            <a:ext cx="38100" cy="57150"/>
          </a:xfrm>
          <a:custGeom>
            <a:avLst/>
            <a:gdLst>
              <a:gd name="T0" fmla="*/ 0 w 4"/>
              <a:gd name="T1" fmla="*/ 2147483647 h 6"/>
              <a:gd name="T2" fmla="*/ 2147483647 w 4"/>
              <a:gd name="T3" fmla="*/ 2147483647 h 6"/>
              <a:gd name="T4" fmla="*/ 2147483647 w 4"/>
              <a:gd name="T5" fmla="*/ 0 h 6"/>
              <a:gd name="T6" fmla="*/ 0 w 4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4"/>
              <a:gd name="T13" fmla="*/ 0 h 6"/>
              <a:gd name="T14" fmla="*/ 4 w 4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" h="6">
                <a:moveTo>
                  <a:pt x="0" y="2"/>
                </a:moveTo>
                <a:lnTo>
                  <a:pt x="4" y="6"/>
                </a:lnTo>
                <a:lnTo>
                  <a:pt x="4" y="0"/>
                </a:lnTo>
                <a:lnTo>
                  <a:pt x="0" y="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8" name="Freeform 78"/>
          <p:cNvSpPr>
            <a:spLocks/>
          </p:cNvSpPr>
          <p:nvPr/>
        </p:nvSpPr>
        <p:spPr bwMode="auto">
          <a:xfrm>
            <a:off x="6032057" y="2673349"/>
            <a:ext cx="47625" cy="47625"/>
          </a:xfrm>
          <a:custGeom>
            <a:avLst/>
            <a:gdLst>
              <a:gd name="T0" fmla="*/ 0 w 5"/>
              <a:gd name="T1" fmla="*/ 0 h 5"/>
              <a:gd name="T2" fmla="*/ 0 w 5"/>
              <a:gd name="T3" fmla="*/ 2147483647 h 5"/>
              <a:gd name="T4" fmla="*/ 2147483647 w 5"/>
              <a:gd name="T5" fmla="*/ 2147483647 h 5"/>
              <a:gd name="T6" fmla="*/ 2147483647 w 5"/>
              <a:gd name="T7" fmla="*/ 0 h 5"/>
              <a:gd name="T8" fmla="*/ 0 w 5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5"/>
              <a:gd name="T17" fmla="*/ 5 w 5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5">
                <a:moveTo>
                  <a:pt x="0" y="0"/>
                </a:moveTo>
                <a:lnTo>
                  <a:pt x="0" y="4"/>
                </a:lnTo>
                <a:lnTo>
                  <a:pt x="5" y="5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9" name="Freeform 79"/>
          <p:cNvSpPr>
            <a:spLocks/>
          </p:cNvSpPr>
          <p:nvPr/>
        </p:nvSpPr>
        <p:spPr bwMode="auto">
          <a:xfrm>
            <a:off x="6089207" y="2692399"/>
            <a:ext cx="28575" cy="38100"/>
          </a:xfrm>
          <a:custGeom>
            <a:avLst/>
            <a:gdLst>
              <a:gd name="T0" fmla="*/ 2147483647 w 3"/>
              <a:gd name="T1" fmla="*/ 0 h 4"/>
              <a:gd name="T2" fmla="*/ 2147483647 w 3"/>
              <a:gd name="T3" fmla="*/ 2147483647 h 4"/>
              <a:gd name="T4" fmla="*/ 2147483647 w 3"/>
              <a:gd name="T5" fmla="*/ 2147483647 h 4"/>
              <a:gd name="T6" fmla="*/ 0 w 3"/>
              <a:gd name="T7" fmla="*/ 2147483647 h 4"/>
              <a:gd name="T8" fmla="*/ 2147483647 w 3"/>
              <a:gd name="T9" fmla="*/ 0 h 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4"/>
              <a:gd name="T17" fmla="*/ 3 w 3"/>
              <a:gd name="T18" fmla="*/ 4 h 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4">
                <a:moveTo>
                  <a:pt x="1" y="0"/>
                </a:moveTo>
                <a:lnTo>
                  <a:pt x="3" y="2"/>
                </a:lnTo>
                <a:lnTo>
                  <a:pt x="2" y="4"/>
                </a:lnTo>
                <a:lnTo>
                  <a:pt x="0" y="4"/>
                </a:lnTo>
                <a:lnTo>
                  <a:pt x="1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90" name="Freeform 80"/>
          <p:cNvSpPr>
            <a:spLocks/>
          </p:cNvSpPr>
          <p:nvPr/>
        </p:nvSpPr>
        <p:spPr bwMode="auto">
          <a:xfrm>
            <a:off x="6108257" y="2644774"/>
            <a:ext cx="38100" cy="57150"/>
          </a:xfrm>
          <a:custGeom>
            <a:avLst/>
            <a:gdLst>
              <a:gd name="T0" fmla="*/ 0 w 4"/>
              <a:gd name="T1" fmla="*/ 2147483647 h 6"/>
              <a:gd name="T2" fmla="*/ 2147483647 w 4"/>
              <a:gd name="T3" fmla="*/ 0 h 6"/>
              <a:gd name="T4" fmla="*/ 2147483647 w 4"/>
              <a:gd name="T5" fmla="*/ 2147483647 h 6"/>
              <a:gd name="T6" fmla="*/ 2147483647 w 4"/>
              <a:gd name="T7" fmla="*/ 2147483647 h 6"/>
              <a:gd name="T8" fmla="*/ 2147483647 w 4"/>
              <a:gd name="T9" fmla="*/ 2147483647 h 6"/>
              <a:gd name="T10" fmla="*/ 0 w 4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"/>
              <a:gd name="T19" fmla="*/ 0 h 6"/>
              <a:gd name="T20" fmla="*/ 4 w 4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" h="6">
                <a:moveTo>
                  <a:pt x="0" y="2"/>
                </a:moveTo>
                <a:lnTo>
                  <a:pt x="2" y="0"/>
                </a:lnTo>
                <a:lnTo>
                  <a:pt x="4" y="3"/>
                </a:lnTo>
                <a:lnTo>
                  <a:pt x="4" y="6"/>
                </a:lnTo>
                <a:lnTo>
                  <a:pt x="1" y="5"/>
                </a:lnTo>
                <a:lnTo>
                  <a:pt x="0" y="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91" name="Freeform 81"/>
          <p:cNvSpPr>
            <a:spLocks/>
          </p:cNvSpPr>
          <p:nvPr/>
        </p:nvSpPr>
        <p:spPr bwMode="auto">
          <a:xfrm>
            <a:off x="6127307" y="2616199"/>
            <a:ext cx="38100" cy="38100"/>
          </a:xfrm>
          <a:custGeom>
            <a:avLst/>
            <a:gdLst>
              <a:gd name="T0" fmla="*/ 2147483647 w 4"/>
              <a:gd name="T1" fmla="*/ 0 h 4"/>
              <a:gd name="T2" fmla="*/ 2147483647 w 4"/>
              <a:gd name="T3" fmla="*/ 2147483647 h 4"/>
              <a:gd name="T4" fmla="*/ 2147483647 w 4"/>
              <a:gd name="T5" fmla="*/ 0 h 4"/>
              <a:gd name="T6" fmla="*/ 2147483647 w 4"/>
              <a:gd name="T7" fmla="*/ 0 h 4"/>
              <a:gd name="T8" fmla="*/ 0 60000 65536"/>
              <a:gd name="T9" fmla="*/ 0 60000 65536"/>
              <a:gd name="T10" fmla="*/ 0 60000 65536"/>
              <a:gd name="T11" fmla="*/ 0 60000 65536"/>
              <a:gd name="T12" fmla="*/ 0 w 4"/>
              <a:gd name="T13" fmla="*/ 0 h 4"/>
              <a:gd name="T14" fmla="*/ 4 w 4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" h="4">
                <a:moveTo>
                  <a:pt x="1" y="0"/>
                </a:moveTo>
                <a:lnTo>
                  <a:pt x="3" y="4"/>
                </a:lnTo>
                <a:lnTo>
                  <a:pt x="4" y="0"/>
                </a:lnTo>
                <a:cubicBezTo>
                  <a:pt x="4" y="0"/>
                  <a:pt x="0" y="1"/>
                  <a:pt x="1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92" name="Freeform 82"/>
          <p:cNvSpPr>
            <a:spLocks/>
          </p:cNvSpPr>
          <p:nvPr/>
        </p:nvSpPr>
        <p:spPr bwMode="auto">
          <a:xfrm>
            <a:off x="6041582" y="2501899"/>
            <a:ext cx="38100" cy="47625"/>
          </a:xfrm>
          <a:custGeom>
            <a:avLst/>
            <a:gdLst>
              <a:gd name="T0" fmla="*/ 0 w 4"/>
              <a:gd name="T1" fmla="*/ 0 h 5"/>
              <a:gd name="T2" fmla="*/ 2147483647 w 4"/>
              <a:gd name="T3" fmla="*/ 0 h 5"/>
              <a:gd name="T4" fmla="*/ 2147483647 w 4"/>
              <a:gd name="T5" fmla="*/ 2147483647 h 5"/>
              <a:gd name="T6" fmla="*/ 2147483647 w 4"/>
              <a:gd name="T7" fmla="*/ 2147483647 h 5"/>
              <a:gd name="T8" fmla="*/ 0 w 4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"/>
              <a:gd name="T16" fmla="*/ 0 h 5"/>
              <a:gd name="T17" fmla="*/ 4 w 4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" h="5">
                <a:moveTo>
                  <a:pt x="0" y="0"/>
                </a:moveTo>
                <a:lnTo>
                  <a:pt x="4" y="0"/>
                </a:lnTo>
                <a:lnTo>
                  <a:pt x="4" y="5"/>
                </a:lnTo>
                <a:lnTo>
                  <a:pt x="1" y="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93" name="Freeform 83"/>
          <p:cNvSpPr>
            <a:spLocks/>
          </p:cNvSpPr>
          <p:nvPr/>
        </p:nvSpPr>
        <p:spPr bwMode="auto">
          <a:xfrm>
            <a:off x="6089207" y="2444749"/>
            <a:ext cx="47625" cy="47625"/>
          </a:xfrm>
          <a:custGeom>
            <a:avLst/>
            <a:gdLst>
              <a:gd name="T0" fmla="*/ 0 w 5"/>
              <a:gd name="T1" fmla="*/ 0 h 5"/>
              <a:gd name="T2" fmla="*/ 0 w 5"/>
              <a:gd name="T3" fmla="*/ 2147483647 h 5"/>
              <a:gd name="T4" fmla="*/ 2147483647 w 5"/>
              <a:gd name="T5" fmla="*/ 2147483647 h 5"/>
              <a:gd name="T6" fmla="*/ 2147483647 w 5"/>
              <a:gd name="T7" fmla="*/ 2147483647 h 5"/>
              <a:gd name="T8" fmla="*/ 0 w 5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5"/>
              <a:gd name="T17" fmla="*/ 5 w 5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5">
                <a:moveTo>
                  <a:pt x="0" y="0"/>
                </a:moveTo>
                <a:lnTo>
                  <a:pt x="0" y="4"/>
                </a:lnTo>
                <a:lnTo>
                  <a:pt x="2" y="5"/>
                </a:lnTo>
                <a:lnTo>
                  <a:pt x="5" y="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94" name="Freeform 84"/>
          <p:cNvSpPr>
            <a:spLocks/>
          </p:cNvSpPr>
          <p:nvPr/>
        </p:nvSpPr>
        <p:spPr bwMode="auto">
          <a:xfrm>
            <a:off x="6308282" y="2311399"/>
            <a:ext cx="47625" cy="57150"/>
          </a:xfrm>
          <a:custGeom>
            <a:avLst/>
            <a:gdLst>
              <a:gd name="T0" fmla="*/ 0 w 5"/>
              <a:gd name="T1" fmla="*/ 2147483647 h 6"/>
              <a:gd name="T2" fmla="*/ 2147483647 w 5"/>
              <a:gd name="T3" fmla="*/ 0 h 6"/>
              <a:gd name="T4" fmla="*/ 2147483647 w 5"/>
              <a:gd name="T5" fmla="*/ 2147483647 h 6"/>
              <a:gd name="T6" fmla="*/ 2147483647 w 5"/>
              <a:gd name="T7" fmla="*/ 2147483647 h 6"/>
              <a:gd name="T8" fmla="*/ 0 w 5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6"/>
              <a:gd name="T17" fmla="*/ 5 w 5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6">
                <a:moveTo>
                  <a:pt x="0" y="3"/>
                </a:moveTo>
                <a:lnTo>
                  <a:pt x="3" y="0"/>
                </a:lnTo>
                <a:lnTo>
                  <a:pt x="5" y="6"/>
                </a:lnTo>
                <a:lnTo>
                  <a:pt x="2" y="6"/>
                </a:lnTo>
                <a:lnTo>
                  <a:pt x="0" y="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95" name="Freeform 85"/>
          <p:cNvSpPr>
            <a:spLocks/>
          </p:cNvSpPr>
          <p:nvPr/>
        </p:nvSpPr>
        <p:spPr bwMode="auto">
          <a:xfrm>
            <a:off x="6470207" y="2406649"/>
            <a:ext cx="38100" cy="57150"/>
          </a:xfrm>
          <a:custGeom>
            <a:avLst/>
            <a:gdLst>
              <a:gd name="T0" fmla="*/ 0 w 4"/>
              <a:gd name="T1" fmla="*/ 2147483647 h 6"/>
              <a:gd name="T2" fmla="*/ 2147483647 w 4"/>
              <a:gd name="T3" fmla="*/ 0 h 6"/>
              <a:gd name="T4" fmla="*/ 2147483647 w 4"/>
              <a:gd name="T5" fmla="*/ 2147483647 h 6"/>
              <a:gd name="T6" fmla="*/ 2147483647 w 4"/>
              <a:gd name="T7" fmla="*/ 2147483647 h 6"/>
              <a:gd name="T8" fmla="*/ 0 w 4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"/>
              <a:gd name="T16" fmla="*/ 0 h 6"/>
              <a:gd name="T17" fmla="*/ 4 w 4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" h="6">
                <a:moveTo>
                  <a:pt x="0" y="4"/>
                </a:moveTo>
                <a:lnTo>
                  <a:pt x="1" y="0"/>
                </a:lnTo>
                <a:lnTo>
                  <a:pt x="4" y="5"/>
                </a:lnTo>
                <a:lnTo>
                  <a:pt x="1" y="6"/>
                </a:lnTo>
                <a:cubicBezTo>
                  <a:pt x="1" y="6"/>
                  <a:pt x="0" y="4"/>
                  <a:pt x="0" y="4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96" name="Freeform 86"/>
          <p:cNvSpPr>
            <a:spLocks/>
          </p:cNvSpPr>
          <p:nvPr/>
        </p:nvSpPr>
        <p:spPr bwMode="auto">
          <a:xfrm>
            <a:off x="6498782" y="2359024"/>
            <a:ext cx="38100" cy="47625"/>
          </a:xfrm>
          <a:custGeom>
            <a:avLst/>
            <a:gdLst>
              <a:gd name="T0" fmla="*/ 0 w 4"/>
              <a:gd name="T1" fmla="*/ 2147483647 h 5"/>
              <a:gd name="T2" fmla="*/ 2147483647 w 4"/>
              <a:gd name="T3" fmla="*/ 0 h 5"/>
              <a:gd name="T4" fmla="*/ 2147483647 w 4"/>
              <a:gd name="T5" fmla="*/ 2147483647 h 5"/>
              <a:gd name="T6" fmla="*/ 0 w 4"/>
              <a:gd name="T7" fmla="*/ 2147483647 h 5"/>
              <a:gd name="T8" fmla="*/ 0 60000 65536"/>
              <a:gd name="T9" fmla="*/ 0 60000 65536"/>
              <a:gd name="T10" fmla="*/ 0 60000 65536"/>
              <a:gd name="T11" fmla="*/ 0 60000 65536"/>
              <a:gd name="T12" fmla="*/ 0 w 4"/>
              <a:gd name="T13" fmla="*/ 0 h 5"/>
              <a:gd name="T14" fmla="*/ 4 w 4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" h="5">
                <a:moveTo>
                  <a:pt x="0" y="1"/>
                </a:moveTo>
                <a:lnTo>
                  <a:pt x="4" y="0"/>
                </a:lnTo>
                <a:lnTo>
                  <a:pt x="4" y="5"/>
                </a:lnTo>
                <a:lnTo>
                  <a:pt x="0" y="1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97" name="Freeform 87"/>
          <p:cNvSpPr>
            <a:spLocks/>
          </p:cNvSpPr>
          <p:nvPr/>
        </p:nvSpPr>
        <p:spPr bwMode="auto">
          <a:xfrm>
            <a:off x="6794057" y="2206624"/>
            <a:ext cx="47625" cy="47625"/>
          </a:xfrm>
          <a:custGeom>
            <a:avLst/>
            <a:gdLst>
              <a:gd name="T0" fmla="*/ 2147483647 w 5"/>
              <a:gd name="T1" fmla="*/ 2147483647 h 5"/>
              <a:gd name="T2" fmla="*/ 0 w 5"/>
              <a:gd name="T3" fmla="*/ 0 h 5"/>
              <a:gd name="T4" fmla="*/ 2147483647 w 5"/>
              <a:gd name="T5" fmla="*/ 2147483647 h 5"/>
              <a:gd name="T6" fmla="*/ 2147483647 w 5"/>
              <a:gd name="T7" fmla="*/ 2147483647 h 5"/>
              <a:gd name="T8" fmla="*/ 2147483647 w 5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5"/>
              <a:gd name="T17" fmla="*/ 5 w 5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5">
                <a:moveTo>
                  <a:pt x="1" y="5"/>
                </a:moveTo>
                <a:lnTo>
                  <a:pt x="0" y="0"/>
                </a:lnTo>
                <a:lnTo>
                  <a:pt x="3" y="1"/>
                </a:lnTo>
                <a:lnTo>
                  <a:pt x="5" y="5"/>
                </a:lnTo>
                <a:lnTo>
                  <a:pt x="1" y="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98" name="Freeform 88"/>
          <p:cNvSpPr>
            <a:spLocks/>
          </p:cNvSpPr>
          <p:nvPr/>
        </p:nvSpPr>
        <p:spPr bwMode="auto">
          <a:xfrm>
            <a:off x="6051107" y="1939924"/>
            <a:ext cx="38100" cy="76200"/>
          </a:xfrm>
          <a:custGeom>
            <a:avLst/>
            <a:gdLst>
              <a:gd name="T0" fmla="*/ 0 w 4"/>
              <a:gd name="T1" fmla="*/ 2147483647 h 8"/>
              <a:gd name="T2" fmla="*/ 0 w 4"/>
              <a:gd name="T3" fmla="*/ 0 h 8"/>
              <a:gd name="T4" fmla="*/ 2147483647 w 4"/>
              <a:gd name="T5" fmla="*/ 2147483647 h 8"/>
              <a:gd name="T6" fmla="*/ 2147483647 w 4"/>
              <a:gd name="T7" fmla="*/ 2147483647 h 8"/>
              <a:gd name="T8" fmla="*/ 0 w 4"/>
              <a:gd name="T9" fmla="*/ 2147483647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"/>
              <a:gd name="T16" fmla="*/ 0 h 8"/>
              <a:gd name="T17" fmla="*/ 4 w 4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" h="8">
                <a:moveTo>
                  <a:pt x="0" y="6"/>
                </a:moveTo>
                <a:lnTo>
                  <a:pt x="0" y="0"/>
                </a:lnTo>
                <a:lnTo>
                  <a:pt x="4" y="3"/>
                </a:lnTo>
                <a:lnTo>
                  <a:pt x="4" y="8"/>
                </a:lnTo>
                <a:lnTo>
                  <a:pt x="0" y="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99" name="Freeform 89"/>
          <p:cNvSpPr>
            <a:spLocks/>
          </p:cNvSpPr>
          <p:nvPr/>
        </p:nvSpPr>
        <p:spPr bwMode="auto">
          <a:xfrm>
            <a:off x="6165407" y="1787524"/>
            <a:ext cx="57150" cy="66675"/>
          </a:xfrm>
          <a:custGeom>
            <a:avLst/>
            <a:gdLst>
              <a:gd name="T0" fmla="*/ 2147483647 w 6"/>
              <a:gd name="T1" fmla="*/ 2147483647 h 7"/>
              <a:gd name="T2" fmla="*/ 0 w 6"/>
              <a:gd name="T3" fmla="*/ 2147483647 h 7"/>
              <a:gd name="T4" fmla="*/ 2147483647 w 6"/>
              <a:gd name="T5" fmla="*/ 0 h 7"/>
              <a:gd name="T6" fmla="*/ 2147483647 w 6"/>
              <a:gd name="T7" fmla="*/ 2147483647 h 7"/>
              <a:gd name="T8" fmla="*/ 2147483647 w 6"/>
              <a:gd name="T9" fmla="*/ 2147483647 h 7"/>
              <a:gd name="T10" fmla="*/ 2147483647 w 6"/>
              <a:gd name="T11" fmla="*/ 2147483647 h 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7"/>
              <a:gd name="T20" fmla="*/ 6 w 6"/>
              <a:gd name="T21" fmla="*/ 7 h 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7">
                <a:moveTo>
                  <a:pt x="1" y="7"/>
                </a:moveTo>
                <a:lnTo>
                  <a:pt x="0" y="4"/>
                </a:lnTo>
                <a:lnTo>
                  <a:pt x="3" y="0"/>
                </a:lnTo>
                <a:lnTo>
                  <a:pt x="6" y="5"/>
                </a:lnTo>
                <a:lnTo>
                  <a:pt x="6" y="7"/>
                </a:lnTo>
                <a:lnTo>
                  <a:pt x="1" y="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0" name="Freeform 90"/>
          <p:cNvSpPr>
            <a:spLocks/>
          </p:cNvSpPr>
          <p:nvPr/>
        </p:nvSpPr>
        <p:spPr bwMode="auto">
          <a:xfrm>
            <a:off x="6394007" y="1806574"/>
            <a:ext cx="66675" cy="47625"/>
          </a:xfrm>
          <a:custGeom>
            <a:avLst/>
            <a:gdLst>
              <a:gd name="T0" fmla="*/ 0 w 7"/>
              <a:gd name="T1" fmla="*/ 0 h 5"/>
              <a:gd name="T2" fmla="*/ 2147483647 w 7"/>
              <a:gd name="T3" fmla="*/ 2147483647 h 5"/>
              <a:gd name="T4" fmla="*/ 2147483647 w 7"/>
              <a:gd name="T5" fmla="*/ 2147483647 h 5"/>
              <a:gd name="T6" fmla="*/ 2147483647 w 7"/>
              <a:gd name="T7" fmla="*/ 0 h 5"/>
              <a:gd name="T8" fmla="*/ 0 w 7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"/>
              <a:gd name="T16" fmla="*/ 0 h 5"/>
              <a:gd name="T17" fmla="*/ 7 w 7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" h="5">
                <a:moveTo>
                  <a:pt x="0" y="0"/>
                </a:moveTo>
                <a:lnTo>
                  <a:pt x="2" y="5"/>
                </a:lnTo>
                <a:lnTo>
                  <a:pt x="7" y="5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1" name="Freeform 91"/>
          <p:cNvSpPr>
            <a:spLocks/>
          </p:cNvSpPr>
          <p:nvPr/>
        </p:nvSpPr>
        <p:spPr bwMode="auto">
          <a:xfrm>
            <a:off x="6451157" y="1806574"/>
            <a:ext cx="133350" cy="171450"/>
          </a:xfrm>
          <a:custGeom>
            <a:avLst/>
            <a:gdLst>
              <a:gd name="T0" fmla="*/ 2147483647 w 14"/>
              <a:gd name="T1" fmla="*/ 2147483647 h 18"/>
              <a:gd name="T2" fmla="*/ 0 w 14"/>
              <a:gd name="T3" fmla="*/ 2147483647 h 18"/>
              <a:gd name="T4" fmla="*/ 0 w 14"/>
              <a:gd name="T5" fmla="*/ 2147483647 h 18"/>
              <a:gd name="T6" fmla="*/ 2147483647 w 14"/>
              <a:gd name="T7" fmla="*/ 2147483647 h 18"/>
              <a:gd name="T8" fmla="*/ 2147483647 w 14"/>
              <a:gd name="T9" fmla="*/ 2147483647 h 18"/>
              <a:gd name="T10" fmla="*/ 2147483647 w 14"/>
              <a:gd name="T11" fmla="*/ 0 h 18"/>
              <a:gd name="T12" fmla="*/ 2147483647 w 14"/>
              <a:gd name="T13" fmla="*/ 2147483647 h 18"/>
              <a:gd name="T14" fmla="*/ 2147483647 w 14"/>
              <a:gd name="T15" fmla="*/ 2147483647 h 18"/>
              <a:gd name="T16" fmla="*/ 2147483647 w 14"/>
              <a:gd name="T17" fmla="*/ 2147483647 h 18"/>
              <a:gd name="T18" fmla="*/ 2147483647 w 14"/>
              <a:gd name="T19" fmla="*/ 2147483647 h 1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4"/>
              <a:gd name="T31" fmla="*/ 0 h 18"/>
              <a:gd name="T32" fmla="*/ 14 w 14"/>
              <a:gd name="T33" fmla="*/ 18 h 1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4" h="18">
                <a:moveTo>
                  <a:pt x="2" y="18"/>
                </a:moveTo>
                <a:lnTo>
                  <a:pt x="0" y="15"/>
                </a:lnTo>
                <a:lnTo>
                  <a:pt x="0" y="12"/>
                </a:lnTo>
                <a:lnTo>
                  <a:pt x="3" y="12"/>
                </a:lnTo>
                <a:lnTo>
                  <a:pt x="2" y="5"/>
                </a:lnTo>
                <a:lnTo>
                  <a:pt x="8" y="0"/>
                </a:lnTo>
                <a:lnTo>
                  <a:pt x="14" y="10"/>
                </a:lnTo>
                <a:lnTo>
                  <a:pt x="11" y="11"/>
                </a:lnTo>
                <a:lnTo>
                  <a:pt x="11" y="16"/>
                </a:lnTo>
                <a:lnTo>
                  <a:pt x="2" y="1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2" name="Freeform 92"/>
          <p:cNvSpPr>
            <a:spLocks/>
          </p:cNvSpPr>
          <p:nvPr/>
        </p:nvSpPr>
        <p:spPr bwMode="auto">
          <a:xfrm>
            <a:off x="6394007" y="1968499"/>
            <a:ext cx="76200" cy="66675"/>
          </a:xfrm>
          <a:custGeom>
            <a:avLst/>
            <a:gdLst>
              <a:gd name="T0" fmla="*/ 2147483647 w 8"/>
              <a:gd name="T1" fmla="*/ 2147483647 h 7"/>
              <a:gd name="T2" fmla="*/ 2147483647 w 8"/>
              <a:gd name="T3" fmla="*/ 2147483647 h 7"/>
              <a:gd name="T4" fmla="*/ 2147483647 w 8"/>
              <a:gd name="T5" fmla="*/ 0 h 7"/>
              <a:gd name="T6" fmla="*/ 0 w 8"/>
              <a:gd name="T7" fmla="*/ 2147483647 h 7"/>
              <a:gd name="T8" fmla="*/ 2147483647 w 8"/>
              <a:gd name="T9" fmla="*/ 2147483647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7"/>
              <a:gd name="T17" fmla="*/ 8 w 8"/>
              <a:gd name="T18" fmla="*/ 7 h 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7">
                <a:moveTo>
                  <a:pt x="6" y="7"/>
                </a:moveTo>
                <a:lnTo>
                  <a:pt x="8" y="2"/>
                </a:lnTo>
                <a:lnTo>
                  <a:pt x="2" y="0"/>
                </a:lnTo>
                <a:lnTo>
                  <a:pt x="0" y="4"/>
                </a:lnTo>
                <a:lnTo>
                  <a:pt x="6" y="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3" name="Freeform 93"/>
          <p:cNvSpPr>
            <a:spLocks/>
          </p:cNvSpPr>
          <p:nvPr/>
        </p:nvSpPr>
        <p:spPr bwMode="auto">
          <a:xfrm>
            <a:off x="6460682" y="1968499"/>
            <a:ext cx="171450" cy="200025"/>
          </a:xfrm>
          <a:custGeom>
            <a:avLst/>
            <a:gdLst>
              <a:gd name="T0" fmla="*/ 2147483647 w 18"/>
              <a:gd name="T1" fmla="*/ 2147483647 h 21"/>
              <a:gd name="T2" fmla="*/ 0 w 18"/>
              <a:gd name="T3" fmla="*/ 2147483647 h 21"/>
              <a:gd name="T4" fmla="*/ 2147483647 w 18"/>
              <a:gd name="T5" fmla="*/ 2147483647 h 21"/>
              <a:gd name="T6" fmla="*/ 2147483647 w 18"/>
              <a:gd name="T7" fmla="*/ 2147483647 h 21"/>
              <a:gd name="T8" fmla="*/ 2147483647 w 18"/>
              <a:gd name="T9" fmla="*/ 2147483647 h 21"/>
              <a:gd name="T10" fmla="*/ 2147483647 w 18"/>
              <a:gd name="T11" fmla="*/ 2147483647 h 21"/>
              <a:gd name="T12" fmla="*/ 2147483647 w 18"/>
              <a:gd name="T13" fmla="*/ 2147483647 h 21"/>
              <a:gd name="T14" fmla="*/ 2147483647 w 18"/>
              <a:gd name="T15" fmla="*/ 2147483647 h 21"/>
              <a:gd name="T16" fmla="*/ 2147483647 w 18"/>
              <a:gd name="T17" fmla="*/ 2147483647 h 21"/>
              <a:gd name="T18" fmla="*/ 2147483647 w 18"/>
              <a:gd name="T19" fmla="*/ 2147483647 h 21"/>
              <a:gd name="T20" fmla="*/ 2147483647 w 18"/>
              <a:gd name="T21" fmla="*/ 2147483647 h 21"/>
              <a:gd name="T22" fmla="*/ 2147483647 w 18"/>
              <a:gd name="T23" fmla="*/ 0 h 21"/>
              <a:gd name="T24" fmla="*/ 2147483647 w 18"/>
              <a:gd name="T25" fmla="*/ 2147483647 h 2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8"/>
              <a:gd name="T40" fmla="*/ 0 h 21"/>
              <a:gd name="T41" fmla="*/ 18 w 18"/>
              <a:gd name="T42" fmla="*/ 21 h 2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8" h="21">
                <a:moveTo>
                  <a:pt x="2" y="1"/>
                </a:moveTo>
                <a:lnTo>
                  <a:pt x="0" y="7"/>
                </a:lnTo>
                <a:lnTo>
                  <a:pt x="1" y="12"/>
                </a:lnTo>
                <a:lnTo>
                  <a:pt x="5" y="18"/>
                </a:lnTo>
                <a:lnTo>
                  <a:pt x="9" y="17"/>
                </a:lnTo>
                <a:lnTo>
                  <a:pt x="14" y="21"/>
                </a:lnTo>
                <a:lnTo>
                  <a:pt x="17" y="19"/>
                </a:lnTo>
                <a:lnTo>
                  <a:pt x="16" y="13"/>
                </a:lnTo>
                <a:lnTo>
                  <a:pt x="18" y="6"/>
                </a:lnTo>
                <a:lnTo>
                  <a:pt x="14" y="2"/>
                </a:lnTo>
                <a:lnTo>
                  <a:pt x="11" y="6"/>
                </a:lnTo>
                <a:lnTo>
                  <a:pt x="10" y="0"/>
                </a:lnTo>
                <a:lnTo>
                  <a:pt x="2" y="1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4" name="Freeform 94"/>
          <p:cNvSpPr>
            <a:spLocks/>
          </p:cNvSpPr>
          <p:nvPr/>
        </p:nvSpPr>
        <p:spPr bwMode="auto">
          <a:xfrm>
            <a:off x="6613082" y="2063749"/>
            <a:ext cx="152400" cy="209550"/>
          </a:xfrm>
          <a:custGeom>
            <a:avLst/>
            <a:gdLst>
              <a:gd name="T0" fmla="*/ 2147483647 w 16"/>
              <a:gd name="T1" fmla="*/ 2147483647 h 22"/>
              <a:gd name="T2" fmla="*/ 2147483647 w 16"/>
              <a:gd name="T3" fmla="*/ 0 h 22"/>
              <a:gd name="T4" fmla="*/ 2147483647 w 16"/>
              <a:gd name="T5" fmla="*/ 2147483647 h 22"/>
              <a:gd name="T6" fmla="*/ 2147483647 w 16"/>
              <a:gd name="T7" fmla="*/ 2147483647 h 22"/>
              <a:gd name="T8" fmla="*/ 2147483647 w 16"/>
              <a:gd name="T9" fmla="*/ 2147483647 h 22"/>
              <a:gd name="T10" fmla="*/ 0 w 16"/>
              <a:gd name="T11" fmla="*/ 2147483647 h 22"/>
              <a:gd name="T12" fmla="*/ 2147483647 w 16"/>
              <a:gd name="T13" fmla="*/ 2147483647 h 22"/>
              <a:gd name="T14" fmla="*/ 2147483647 w 16"/>
              <a:gd name="T15" fmla="*/ 2147483647 h 22"/>
              <a:gd name="T16" fmla="*/ 2147483647 w 16"/>
              <a:gd name="T17" fmla="*/ 2147483647 h 22"/>
              <a:gd name="T18" fmla="*/ 2147483647 w 16"/>
              <a:gd name="T19" fmla="*/ 2147483647 h 22"/>
              <a:gd name="T20" fmla="*/ 2147483647 w 16"/>
              <a:gd name="T21" fmla="*/ 2147483647 h 22"/>
              <a:gd name="T22" fmla="*/ 2147483647 w 16"/>
              <a:gd name="T23" fmla="*/ 2147483647 h 22"/>
              <a:gd name="T24" fmla="*/ 2147483647 w 16"/>
              <a:gd name="T25" fmla="*/ 2147483647 h 2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6"/>
              <a:gd name="T40" fmla="*/ 0 h 22"/>
              <a:gd name="T41" fmla="*/ 16 w 16"/>
              <a:gd name="T42" fmla="*/ 22 h 2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6" h="22">
                <a:moveTo>
                  <a:pt x="9" y="7"/>
                </a:moveTo>
                <a:lnTo>
                  <a:pt x="8" y="0"/>
                </a:lnTo>
                <a:lnTo>
                  <a:pt x="3" y="4"/>
                </a:lnTo>
                <a:lnTo>
                  <a:pt x="4" y="10"/>
                </a:lnTo>
                <a:lnTo>
                  <a:pt x="1" y="16"/>
                </a:lnTo>
                <a:lnTo>
                  <a:pt x="0" y="19"/>
                </a:lnTo>
                <a:lnTo>
                  <a:pt x="2" y="22"/>
                </a:lnTo>
                <a:lnTo>
                  <a:pt x="7" y="17"/>
                </a:lnTo>
                <a:lnTo>
                  <a:pt x="11" y="19"/>
                </a:lnTo>
                <a:lnTo>
                  <a:pt x="16" y="15"/>
                </a:lnTo>
                <a:lnTo>
                  <a:pt x="16" y="9"/>
                </a:lnTo>
                <a:lnTo>
                  <a:pt x="13" y="5"/>
                </a:lnTo>
                <a:lnTo>
                  <a:pt x="9" y="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5" name="Freeform 106"/>
          <p:cNvSpPr>
            <a:spLocks/>
          </p:cNvSpPr>
          <p:nvPr/>
        </p:nvSpPr>
        <p:spPr bwMode="auto">
          <a:xfrm>
            <a:off x="7784657" y="2416174"/>
            <a:ext cx="47625" cy="66675"/>
          </a:xfrm>
          <a:custGeom>
            <a:avLst/>
            <a:gdLst>
              <a:gd name="T0" fmla="*/ 0 w 5"/>
              <a:gd name="T1" fmla="*/ 0 h 7"/>
              <a:gd name="T2" fmla="*/ 2147483647 w 5"/>
              <a:gd name="T3" fmla="*/ 2147483647 h 7"/>
              <a:gd name="T4" fmla="*/ 2147483647 w 5"/>
              <a:gd name="T5" fmla="*/ 2147483647 h 7"/>
              <a:gd name="T6" fmla="*/ 0 w 5"/>
              <a:gd name="T7" fmla="*/ 0 h 7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7"/>
              <a:gd name="T14" fmla="*/ 5 w 5"/>
              <a:gd name="T15" fmla="*/ 7 h 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7">
                <a:moveTo>
                  <a:pt x="0" y="0"/>
                </a:moveTo>
                <a:lnTo>
                  <a:pt x="5" y="7"/>
                </a:lnTo>
                <a:lnTo>
                  <a:pt x="5" y="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6" name="Freeform 107"/>
          <p:cNvSpPr>
            <a:spLocks/>
          </p:cNvSpPr>
          <p:nvPr/>
        </p:nvSpPr>
        <p:spPr bwMode="auto">
          <a:xfrm>
            <a:off x="7689407" y="2244724"/>
            <a:ext cx="47625" cy="66675"/>
          </a:xfrm>
          <a:custGeom>
            <a:avLst/>
            <a:gdLst>
              <a:gd name="T0" fmla="*/ 2147483647 w 5"/>
              <a:gd name="T1" fmla="*/ 2147483647 h 7"/>
              <a:gd name="T2" fmla="*/ 2147483647 w 5"/>
              <a:gd name="T3" fmla="*/ 2147483647 h 7"/>
              <a:gd name="T4" fmla="*/ 2147483647 w 5"/>
              <a:gd name="T5" fmla="*/ 2147483647 h 7"/>
              <a:gd name="T6" fmla="*/ 0 w 5"/>
              <a:gd name="T7" fmla="*/ 0 h 7"/>
              <a:gd name="T8" fmla="*/ 0 w 5"/>
              <a:gd name="T9" fmla="*/ 2147483647 h 7"/>
              <a:gd name="T10" fmla="*/ 2147483647 w 5"/>
              <a:gd name="T11" fmla="*/ 2147483647 h 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7"/>
              <a:gd name="T20" fmla="*/ 5 w 5"/>
              <a:gd name="T21" fmla="*/ 7 h 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7">
                <a:moveTo>
                  <a:pt x="3" y="7"/>
                </a:moveTo>
                <a:lnTo>
                  <a:pt x="5" y="7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ubicBezTo>
                  <a:pt x="0" y="3"/>
                  <a:pt x="3" y="7"/>
                  <a:pt x="3" y="7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7" name="Freeform 108"/>
          <p:cNvSpPr>
            <a:spLocks/>
          </p:cNvSpPr>
          <p:nvPr/>
        </p:nvSpPr>
        <p:spPr bwMode="auto">
          <a:xfrm>
            <a:off x="7927532" y="2320924"/>
            <a:ext cx="38100" cy="66675"/>
          </a:xfrm>
          <a:custGeom>
            <a:avLst/>
            <a:gdLst>
              <a:gd name="T0" fmla="*/ 2147483647 w 4"/>
              <a:gd name="T1" fmla="*/ 2147483647 h 7"/>
              <a:gd name="T2" fmla="*/ 0 w 4"/>
              <a:gd name="T3" fmla="*/ 2147483647 h 7"/>
              <a:gd name="T4" fmla="*/ 2147483647 w 4"/>
              <a:gd name="T5" fmla="*/ 0 h 7"/>
              <a:gd name="T6" fmla="*/ 2147483647 w 4"/>
              <a:gd name="T7" fmla="*/ 2147483647 h 7"/>
              <a:gd name="T8" fmla="*/ 2147483647 w 4"/>
              <a:gd name="T9" fmla="*/ 2147483647 h 7"/>
              <a:gd name="T10" fmla="*/ 2147483647 w 4"/>
              <a:gd name="T11" fmla="*/ 2147483647 h 7"/>
              <a:gd name="T12" fmla="*/ 2147483647 w 4"/>
              <a:gd name="T13" fmla="*/ 2147483647 h 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"/>
              <a:gd name="T22" fmla="*/ 0 h 7"/>
              <a:gd name="T23" fmla="*/ 4 w 4"/>
              <a:gd name="T24" fmla="*/ 7 h 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" h="7">
                <a:moveTo>
                  <a:pt x="2" y="6"/>
                </a:moveTo>
                <a:lnTo>
                  <a:pt x="0" y="4"/>
                </a:lnTo>
                <a:lnTo>
                  <a:pt x="1" y="0"/>
                </a:lnTo>
                <a:lnTo>
                  <a:pt x="4" y="1"/>
                </a:lnTo>
                <a:lnTo>
                  <a:pt x="4" y="3"/>
                </a:lnTo>
                <a:lnTo>
                  <a:pt x="4" y="7"/>
                </a:lnTo>
                <a:lnTo>
                  <a:pt x="2" y="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8" name="Freeform 109"/>
          <p:cNvSpPr>
            <a:spLocks/>
          </p:cNvSpPr>
          <p:nvPr/>
        </p:nvSpPr>
        <p:spPr bwMode="auto">
          <a:xfrm>
            <a:off x="7984682" y="2339974"/>
            <a:ext cx="104775" cy="85725"/>
          </a:xfrm>
          <a:custGeom>
            <a:avLst/>
            <a:gdLst>
              <a:gd name="T0" fmla="*/ 0 w 11"/>
              <a:gd name="T1" fmla="*/ 2147483647 h 9"/>
              <a:gd name="T2" fmla="*/ 0 w 11"/>
              <a:gd name="T3" fmla="*/ 2147483647 h 9"/>
              <a:gd name="T4" fmla="*/ 2147483647 w 11"/>
              <a:gd name="T5" fmla="*/ 2147483647 h 9"/>
              <a:gd name="T6" fmla="*/ 2147483647 w 11"/>
              <a:gd name="T7" fmla="*/ 2147483647 h 9"/>
              <a:gd name="T8" fmla="*/ 2147483647 w 11"/>
              <a:gd name="T9" fmla="*/ 2147483647 h 9"/>
              <a:gd name="T10" fmla="*/ 2147483647 w 11"/>
              <a:gd name="T11" fmla="*/ 2147483647 h 9"/>
              <a:gd name="T12" fmla="*/ 2147483647 w 11"/>
              <a:gd name="T13" fmla="*/ 0 h 9"/>
              <a:gd name="T14" fmla="*/ 2147483647 w 11"/>
              <a:gd name="T15" fmla="*/ 0 h 9"/>
              <a:gd name="T16" fmla="*/ 0 w 11"/>
              <a:gd name="T17" fmla="*/ 2147483647 h 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1"/>
              <a:gd name="T28" fmla="*/ 0 h 9"/>
              <a:gd name="T29" fmla="*/ 11 w 11"/>
              <a:gd name="T30" fmla="*/ 9 h 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1" h="9">
                <a:moveTo>
                  <a:pt x="0" y="3"/>
                </a:moveTo>
                <a:lnTo>
                  <a:pt x="0" y="9"/>
                </a:lnTo>
                <a:lnTo>
                  <a:pt x="3" y="9"/>
                </a:lnTo>
                <a:lnTo>
                  <a:pt x="8" y="7"/>
                </a:lnTo>
                <a:lnTo>
                  <a:pt x="11" y="3"/>
                </a:lnTo>
                <a:lnTo>
                  <a:pt x="10" y="1"/>
                </a:lnTo>
                <a:lnTo>
                  <a:pt x="7" y="0"/>
                </a:lnTo>
                <a:lnTo>
                  <a:pt x="2" y="0"/>
                </a:lnTo>
                <a:lnTo>
                  <a:pt x="0" y="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9" name="Freeform 110"/>
          <p:cNvSpPr>
            <a:spLocks/>
          </p:cNvSpPr>
          <p:nvPr/>
        </p:nvSpPr>
        <p:spPr bwMode="auto">
          <a:xfrm>
            <a:off x="7727507" y="2124074"/>
            <a:ext cx="247650" cy="209550"/>
          </a:xfrm>
          <a:custGeom>
            <a:avLst/>
            <a:gdLst>
              <a:gd name="T0" fmla="*/ 2147483647 w 26"/>
              <a:gd name="T1" fmla="*/ 2147483647 h 22"/>
              <a:gd name="T2" fmla="*/ 2147483647 w 26"/>
              <a:gd name="T3" fmla="*/ 2147483647 h 22"/>
              <a:gd name="T4" fmla="*/ 2147483647 w 26"/>
              <a:gd name="T5" fmla="*/ 2147483647 h 22"/>
              <a:gd name="T6" fmla="*/ 2147483647 w 26"/>
              <a:gd name="T7" fmla="*/ 2147483647 h 22"/>
              <a:gd name="T8" fmla="*/ 2147483647 w 26"/>
              <a:gd name="T9" fmla="*/ 2147483647 h 22"/>
              <a:gd name="T10" fmla="*/ 2147483647 w 26"/>
              <a:gd name="T11" fmla="*/ 2147483647 h 22"/>
              <a:gd name="T12" fmla="*/ 2147483647 w 26"/>
              <a:gd name="T13" fmla="*/ 2147483647 h 22"/>
              <a:gd name="T14" fmla="*/ 2147483647 w 26"/>
              <a:gd name="T15" fmla="*/ 2147483647 h 22"/>
              <a:gd name="T16" fmla="*/ 2147483647 w 26"/>
              <a:gd name="T17" fmla="*/ 2147483647 h 22"/>
              <a:gd name="T18" fmla="*/ 2147483647 w 26"/>
              <a:gd name="T19" fmla="*/ 2147483647 h 22"/>
              <a:gd name="T20" fmla="*/ 2147483647 w 26"/>
              <a:gd name="T21" fmla="*/ 2147483647 h 22"/>
              <a:gd name="T22" fmla="*/ 2147483647 w 26"/>
              <a:gd name="T23" fmla="*/ 2147483647 h 22"/>
              <a:gd name="T24" fmla="*/ 2147483647 w 26"/>
              <a:gd name="T25" fmla="*/ 0 h 22"/>
              <a:gd name="T26" fmla="*/ 2147483647 w 26"/>
              <a:gd name="T27" fmla="*/ 0 h 22"/>
              <a:gd name="T28" fmla="*/ 2147483647 w 26"/>
              <a:gd name="T29" fmla="*/ 2147483647 h 22"/>
              <a:gd name="T30" fmla="*/ 2147483647 w 26"/>
              <a:gd name="T31" fmla="*/ 2147483647 h 22"/>
              <a:gd name="T32" fmla="*/ 2147483647 w 26"/>
              <a:gd name="T33" fmla="*/ 2147483647 h 22"/>
              <a:gd name="T34" fmla="*/ 2147483647 w 26"/>
              <a:gd name="T35" fmla="*/ 2147483647 h 22"/>
              <a:gd name="T36" fmla="*/ 2147483647 w 26"/>
              <a:gd name="T37" fmla="*/ 2147483647 h 22"/>
              <a:gd name="T38" fmla="*/ 2147483647 w 26"/>
              <a:gd name="T39" fmla="*/ 2147483647 h 22"/>
              <a:gd name="T40" fmla="*/ 2147483647 w 26"/>
              <a:gd name="T41" fmla="*/ 2147483647 h 22"/>
              <a:gd name="T42" fmla="*/ 2147483647 w 26"/>
              <a:gd name="T43" fmla="*/ 2147483647 h 22"/>
              <a:gd name="T44" fmla="*/ 2147483647 w 26"/>
              <a:gd name="T45" fmla="*/ 2147483647 h 22"/>
              <a:gd name="T46" fmla="*/ 2147483647 w 26"/>
              <a:gd name="T47" fmla="*/ 2147483647 h 22"/>
              <a:gd name="T48" fmla="*/ 2147483647 w 26"/>
              <a:gd name="T49" fmla="*/ 2147483647 h 22"/>
              <a:gd name="T50" fmla="*/ 0 w 26"/>
              <a:gd name="T51" fmla="*/ 2147483647 h 22"/>
              <a:gd name="T52" fmla="*/ 0 w 26"/>
              <a:gd name="T53" fmla="*/ 2147483647 h 22"/>
              <a:gd name="T54" fmla="*/ 2147483647 w 26"/>
              <a:gd name="T55" fmla="*/ 2147483647 h 22"/>
              <a:gd name="T56" fmla="*/ 2147483647 w 26"/>
              <a:gd name="T57" fmla="*/ 2147483647 h 22"/>
              <a:gd name="T58" fmla="*/ 2147483647 w 26"/>
              <a:gd name="T59" fmla="*/ 2147483647 h 22"/>
              <a:gd name="T60" fmla="*/ 2147483647 w 26"/>
              <a:gd name="T61" fmla="*/ 2147483647 h 22"/>
              <a:gd name="T62" fmla="*/ 2147483647 w 26"/>
              <a:gd name="T63" fmla="*/ 2147483647 h 22"/>
              <a:gd name="T64" fmla="*/ 2147483647 w 26"/>
              <a:gd name="T65" fmla="*/ 2147483647 h 22"/>
              <a:gd name="T66" fmla="*/ 2147483647 w 26"/>
              <a:gd name="T67" fmla="*/ 2147483647 h 22"/>
              <a:gd name="T68" fmla="*/ 2147483647 w 26"/>
              <a:gd name="T69" fmla="*/ 2147483647 h 22"/>
              <a:gd name="T70" fmla="*/ 2147483647 w 26"/>
              <a:gd name="T71" fmla="*/ 2147483647 h 22"/>
              <a:gd name="T72" fmla="*/ 2147483647 w 26"/>
              <a:gd name="T73" fmla="*/ 2147483647 h 22"/>
              <a:gd name="T74" fmla="*/ 2147483647 w 26"/>
              <a:gd name="T75" fmla="*/ 2147483647 h 22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6"/>
              <a:gd name="T115" fmla="*/ 0 h 22"/>
              <a:gd name="T116" fmla="*/ 26 w 26"/>
              <a:gd name="T117" fmla="*/ 22 h 22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6" h="22">
                <a:moveTo>
                  <a:pt x="23" y="16"/>
                </a:moveTo>
                <a:lnTo>
                  <a:pt x="26" y="11"/>
                </a:lnTo>
                <a:lnTo>
                  <a:pt x="24" y="9"/>
                </a:lnTo>
                <a:lnTo>
                  <a:pt x="20" y="9"/>
                </a:lnTo>
                <a:lnTo>
                  <a:pt x="17" y="7"/>
                </a:lnTo>
                <a:lnTo>
                  <a:pt x="15" y="4"/>
                </a:lnTo>
                <a:lnTo>
                  <a:pt x="18" y="3"/>
                </a:lnTo>
                <a:lnTo>
                  <a:pt x="19" y="6"/>
                </a:lnTo>
                <a:lnTo>
                  <a:pt x="21" y="7"/>
                </a:lnTo>
                <a:lnTo>
                  <a:pt x="25" y="8"/>
                </a:lnTo>
                <a:lnTo>
                  <a:pt x="26" y="5"/>
                </a:lnTo>
                <a:lnTo>
                  <a:pt x="25" y="2"/>
                </a:lnTo>
                <a:lnTo>
                  <a:pt x="24" y="0"/>
                </a:lnTo>
                <a:lnTo>
                  <a:pt x="18" y="0"/>
                </a:lnTo>
                <a:lnTo>
                  <a:pt x="15" y="2"/>
                </a:lnTo>
                <a:lnTo>
                  <a:pt x="13" y="2"/>
                </a:lnTo>
                <a:lnTo>
                  <a:pt x="12" y="1"/>
                </a:lnTo>
                <a:lnTo>
                  <a:pt x="9" y="1"/>
                </a:lnTo>
                <a:lnTo>
                  <a:pt x="9" y="3"/>
                </a:lnTo>
                <a:lnTo>
                  <a:pt x="11" y="5"/>
                </a:lnTo>
                <a:lnTo>
                  <a:pt x="13" y="8"/>
                </a:lnTo>
                <a:lnTo>
                  <a:pt x="11" y="9"/>
                </a:lnTo>
                <a:lnTo>
                  <a:pt x="8" y="7"/>
                </a:lnTo>
                <a:lnTo>
                  <a:pt x="8" y="5"/>
                </a:lnTo>
                <a:lnTo>
                  <a:pt x="1" y="5"/>
                </a:lnTo>
                <a:lnTo>
                  <a:pt x="0" y="8"/>
                </a:lnTo>
                <a:lnTo>
                  <a:pt x="0" y="12"/>
                </a:lnTo>
                <a:lnTo>
                  <a:pt x="2" y="15"/>
                </a:lnTo>
                <a:lnTo>
                  <a:pt x="4" y="19"/>
                </a:lnTo>
                <a:lnTo>
                  <a:pt x="6" y="22"/>
                </a:lnTo>
                <a:lnTo>
                  <a:pt x="11" y="21"/>
                </a:lnTo>
                <a:lnTo>
                  <a:pt x="14" y="21"/>
                </a:lnTo>
                <a:lnTo>
                  <a:pt x="15" y="19"/>
                </a:lnTo>
                <a:lnTo>
                  <a:pt x="15" y="17"/>
                </a:lnTo>
                <a:lnTo>
                  <a:pt x="18" y="18"/>
                </a:lnTo>
                <a:lnTo>
                  <a:pt x="19" y="15"/>
                </a:lnTo>
                <a:lnTo>
                  <a:pt x="21" y="15"/>
                </a:lnTo>
                <a:lnTo>
                  <a:pt x="23" y="1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10" name="Freeform 111"/>
          <p:cNvSpPr>
            <a:spLocks/>
          </p:cNvSpPr>
          <p:nvPr/>
        </p:nvSpPr>
        <p:spPr bwMode="auto">
          <a:xfrm>
            <a:off x="7994207" y="2035174"/>
            <a:ext cx="161925" cy="95250"/>
          </a:xfrm>
          <a:custGeom>
            <a:avLst/>
            <a:gdLst>
              <a:gd name="T0" fmla="*/ 0 w 17"/>
              <a:gd name="T1" fmla="*/ 2147483647 h 10"/>
              <a:gd name="T2" fmla="*/ 2147483647 w 17"/>
              <a:gd name="T3" fmla="*/ 2147483647 h 10"/>
              <a:gd name="T4" fmla="*/ 2147483647 w 17"/>
              <a:gd name="T5" fmla="*/ 2147483647 h 10"/>
              <a:gd name="T6" fmla="*/ 2147483647 w 17"/>
              <a:gd name="T7" fmla="*/ 2147483647 h 10"/>
              <a:gd name="T8" fmla="*/ 2147483647 w 17"/>
              <a:gd name="T9" fmla="*/ 2147483647 h 10"/>
              <a:gd name="T10" fmla="*/ 2147483647 w 17"/>
              <a:gd name="T11" fmla="*/ 2147483647 h 10"/>
              <a:gd name="T12" fmla="*/ 2147483647 w 17"/>
              <a:gd name="T13" fmla="*/ 2147483647 h 10"/>
              <a:gd name="T14" fmla="*/ 2147483647 w 17"/>
              <a:gd name="T15" fmla="*/ 2147483647 h 10"/>
              <a:gd name="T16" fmla="*/ 2147483647 w 17"/>
              <a:gd name="T17" fmla="*/ 2147483647 h 10"/>
              <a:gd name="T18" fmla="*/ 2147483647 w 17"/>
              <a:gd name="T19" fmla="*/ 0 h 10"/>
              <a:gd name="T20" fmla="*/ 2147483647 w 17"/>
              <a:gd name="T21" fmla="*/ 0 h 10"/>
              <a:gd name="T22" fmla="*/ 2147483647 w 17"/>
              <a:gd name="T23" fmla="*/ 2147483647 h 10"/>
              <a:gd name="T24" fmla="*/ 2147483647 w 17"/>
              <a:gd name="T25" fmla="*/ 2147483647 h 10"/>
              <a:gd name="T26" fmla="*/ 2147483647 w 17"/>
              <a:gd name="T27" fmla="*/ 2147483647 h 10"/>
              <a:gd name="T28" fmla="*/ 2147483647 w 17"/>
              <a:gd name="T29" fmla="*/ 2147483647 h 10"/>
              <a:gd name="T30" fmla="*/ 2147483647 w 17"/>
              <a:gd name="T31" fmla="*/ 2147483647 h 10"/>
              <a:gd name="T32" fmla="*/ 2147483647 w 17"/>
              <a:gd name="T33" fmla="*/ 2147483647 h 10"/>
              <a:gd name="T34" fmla="*/ 2147483647 w 17"/>
              <a:gd name="T35" fmla="*/ 2147483647 h 10"/>
              <a:gd name="T36" fmla="*/ 0 w 17"/>
              <a:gd name="T37" fmla="*/ 2147483647 h 1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7"/>
              <a:gd name="T58" fmla="*/ 0 h 10"/>
              <a:gd name="T59" fmla="*/ 17 w 17"/>
              <a:gd name="T60" fmla="*/ 10 h 10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7" h="10">
                <a:moveTo>
                  <a:pt x="0" y="5"/>
                </a:moveTo>
                <a:lnTo>
                  <a:pt x="1" y="5"/>
                </a:lnTo>
                <a:lnTo>
                  <a:pt x="3" y="6"/>
                </a:lnTo>
                <a:lnTo>
                  <a:pt x="3" y="4"/>
                </a:lnTo>
                <a:lnTo>
                  <a:pt x="7" y="4"/>
                </a:lnTo>
                <a:lnTo>
                  <a:pt x="7" y="3"/>
                </a:lnTo>
                <a:lnTo>
                  <a:pt x="9" y="3"/>
                </a:lnTo>
                <a:lnTo>
                  <a:pt x="11" y="1"/>
                </a:lnTo>
                <a:lnTo>
                  <a:pt x="13" y="2"/>
                </a:lnTo>
                <a:lnTo>
                  <a:pt x="13" y="0"/>
                </a:lnTo>
                <a:lnTo>
                  <a:pt x="15" y="0"/>
                </a:lnTo>
                <a:lnTo>
                  <a:pt x="16" y="2"/>
                </a:lnTo>
                <a:lnTo>
                  <a:pt x="17" y="5"/>
                </a:lnTo>
                <a:lnTo>
                  <a:pt x="15" y="8"/>
                </a:lnTo>
                <a:lnTo>
                  <a:pt x="13" y="10"/>
                </a:lnTo>
                <a:lnTo>
                  <a:pt x="9" y="10"/>
                </a:lnTo>
                <a:lnTo>
                  <a:pt x="3" y="10"/>
                </a:lnTo>
                <a:lnTo>
                  <a:pt x="1" y="8"/>
                </a:lnTo>
                <a:lnTo>
                  <a:pt x="0" y="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11" name="Freeform 112"/>
          <p:cNvSpPr>
            <a:spLocks/>
          </p:cNvSpPr>
          <p:nvPr/>
        </p:nvSpPr>
        <p:spPr bwMode="auto">
          <a:xfrm>
            <a:off x="7946582" y="1901824"/>
            <a:ext cx="38100" cy="47625"/>
          </a:xfrm>
          <a:custGeom>
            <a:avLst/>
            <a:gdLst>
              <a:gd name="T0" fmla="*/ 0 w 4"/>
              <a:gd name="T1" fmla="*/ 0 h 5"/>
              <a:gd name="T2" fmla="*/ 0 w 4"/>
              <a:gd name="T3" fmla="*/ 2147483647 h 5"/>
              <a:gd name="T4" fmla="*/ 2147483647 w 4"/>
              <a:gd name="T5" fmla="*/ 2147483647 h 5"/>
              <a:gd name="T6" fmla="*/ 2147483647 w 4"/>
              <a:gd name="T7" fmla="*/ 2147483647 h 5"/>
              <a:gd name="T8" fmla="*/ 2147483647 w 4"/>
              <a:gd name="T9" fmla="*/ 2147483647 h 5"/>
              <a:gd name="T10" fmla="*/ 0 w 4"/>
              <a:gd name="T11" fmla="*/ 0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"/>
              <a:gd name="T19" fmla="*/ 0 h 5"/>
              <a:gd name="T20" fmla="*/ 4 w 4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" h="5">
                <a:moveTo>
                  <a:pt x="0" y="0"/>
                </a:moveTo>
                <a:lnTo>
                  <a:pt x="0" y="3"/>
                </a:lnTo>
                <a:lnTo>
                  <a:pt x="1" y="5"/>
                </a:lnTo>
                <a:lnTo>
                  <a:pt x="4" y="4"/>
                </a:lnTo>
                <a:lnTo>
                  <a:pt x="3" y="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12" name="Freeform 113"/>
          <p:cNvSpPr>
            <a:spLocks/>
          </p:cNvSpPr>
          <p:nvPr/>
        </p:nvSpPr>
        <p:spPr bwMode="auto">
          <a:xfrm>
            <a:off x="8746682" y="2130424"/>
            <a:ext cx="38100" cy="38100"/>
          </a:xfrm>
          <a:custGeom>
            <a:avLst/>
            <a:gdLst>
              <a:gd name="T0" fmla="*/ 2147483647 w 4"/>
              <a:gd name="T1" fmla="*/ 0 h 4"/>
              <a:gd name="T2" fmla="*/ 2147483647 w 4"/>
              <a:gd name="T3" fmla="*/ 2147483647 h 4"/>
              <a:gd name="T4" fmla="*/ 2147483647 w 4"/>
              <a:gd name="T5" fmla="*/ 2147483647 h 4"/>
              <a:gd name="T6" fmla="*/ 2147483647 w 4"/>
              <a:gd name="T7" fmla="*/ 2147483647 h 4"/>
              <a:gd name="T8" fmla="*/ 0 w 4"/>
              <a:gd name="T9" fmla="*/ 2147483647 h 4"/>
              <a:gd name="T10" fmla="*/ 2147483647 w 4"/>
              <a:gd name="T11" fmla="*/ 0 h 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"/>
              <a:gd name="T19" fmla="*/ 0 h 4"/>
              <a:gd name="T20" fmla="*/ 4 w 4"/>
              <a:gd name="T21" fmla="*/ 4 h 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" h="4">
                <a:moveTo>
                  <a:pt x="1" y="0"/>
                </a:moveTo>
                <a:lnTo>
                  <a:pt x="3" y="1"/>
                </a:lnTo>
                <a:lnTo>
                  <a:pt x="4" y="3"/>
                </a:lnTo>
                <a:lnTo>
                  <a:pt x="2" y="4"/>
                </a:lnTo>
                <a:lnTo>
                  <a:pt x="0" y="3"/>
                </a:lnTo>
                <a:cubicBezTo>
                  <a:pt x="0" y="3"/>
                  <a:pt x="1" y="0"/>
                  <a:pt x="1" y="0"/>
                </a:cubicBezTo>
                <a:close/>
              </a:path>
            </a:pathLst>
          </a:custGeom>
          <a:solidFill>
            <a:srgbClr val="F2DCDB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13" name="Freeform 114"/>
          <p:cNvSpPr>
            <a:spLocks/>
          </p:cNvSpPr>
          <p:nvPr/>
        </p:nvSpPr>
        <p:spPr bwMode="auto">
          <a:xfrm>
            <a:off x="9076882" y="1377949"/>
            <a:ext cx="95250" cy="161925"/>
          </a:xfrm>
          <a:custGeom>
            <a:avLst/>
            <a:gdLst>
              <a:gd name="T0" fmla="*/ 2147483647 w 10"/>
              <a:gd name="T1" fmla="*/ 0 h 17"/>
              <a:gd name="T2" fmla="*/ 2147483647 w 10"/>
              <a:gd name="T3" fmla="*/ 0 h 17"/>
              <a:gd name="T4" fmla="*/ 2147483647 w 10"/>
              <a:gd name="T5" fmla="*/ 2147483647 h 17"/>
              <a:gd name="T6" fmla="*/ 2147483647 w 10"/>
              <a:gd name="T7" fmla="*/ 2147483647 h 17"/>
              <a:gd name="T8" fmla="*/ 2147483647 w 10"/>
              <a:gd name="T9" fmla="*/ 2147483647 h 17"/>
              <a:gd name="T10" fmla="*/ 2147483647 w 10"/>
              <a:gd name="T11" fmla="*/ 2147483647 h 17"/>
              <a:gd name="T12" fmla="*/ 0 w 10"/>
              <a:gd name="T13" fmla="*/ 2147483647 h 17"/>
              <a:gd name="T14" fmla="*/ 0 w 10"/>
              <a:gd name="T15" fmla="*/ 2147483647 h 17"/>
              <a:gd name="T16" fmla="*/ 2147483647 w 10"/>
              <a:gd name="T17" fmla="*/ 0 h 1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0"/>
              <a:gd name="T28" fmla="*/ 0 h 17"/>
              <a:gd name="T29" fmla="*/ 10 w 10"/>
              <a:gd name="T30" fmla="*/ 17 h 1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0" h="17">
                <a:moveTo>
                  <a:pt x="4" y="0"/>
                </a:moveTo>
                <a:lnTo>
                  <a:pt x="10" y="0"/>
                </a:lnTo>
                <a:lnTo>
                  <a:pt x="9" y="5"/>
                </a:lnTo>
                <a:lnTo>
                  <a:pt x="6" y="9"/>
                </a:lnTo>
                <a:lnTo>
                  <a:pt x="7" y="17"/>
                </a:lnTo>
                <a:lnTo>
                  <a:pt x="3" y="15"/>
                </a:lnTo>
                <a:lnTo>
                  <a:pt x="0" y="9"/>
                </a:lnTo>
                <a:lnTo>
                  <a:pt x="0" y="4"/>
                </a:lnTo>
                <a:lnTo>
                  <a:pt x="4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14" name="Freeform 115"/>
          <p:cNvSpPr>
            <a:spLocks/>
          </p:cNvSpPr>
          <p:nvPr/>
        </p:nvSpPr>
        <p:spPr bwMode="auto">
          <a:xfrm>
            <a:off x="5146232" y="4949824"/>
            <a:ext cx="628650" cy="476250"/>
          </a:xfrm>
          <a:custGeom>
            <a:avLst/>
            <a:gdLst>
              <a:gd name="T0" fmla="*/ 2147483647 w 66"/>
              <a:gd name="T1" fmla="*/ 2147483647 h 50"/>
              <a:gd name="T2" fmla="*/ 2147483647 w 66"/>
              <a:gd name="T3" fmla="*/ 2147483647 h 50"/>
              <a:gd name="T4" fmla="*/ 2147483647 w 66"/>
              <a:gd name="T5" fmla="*/ 2147483647 h 50"/>
              <a:gd name="T6" fmla="*/ 2147483647 w 66"/>
              <a:gd name="T7" fmla="*/ 2147483647 h 50"/>
              <a:gd name="T8" fmla="*/ 2147483647 w 66"/>
              <a:gd name="T9" fmla="*/ 2147483647 h 50"/>
              <a:gd name="T10" fmla="*/ 2147483647 w 66"/>
              <a:gd name="T11" fmla="*/ 2147483647 h 50"/>
              <a:gd name="T12" fmla="*/ 2147483647 w 66"/>
              <a:gd name="T13" fmla="*/ 2147483647 h 50"/>
              <a:gd name="T14" fmla="*/ 2147483647 w 66"/>
              <a:gd name="T15" fmla="*/ 2147483647 h 50"/>
              <a:gd name="T16" fmla="*/ 2147483647 w 66"/>
              <a:gd name="T17" fmla="*/ 2147483647 h 50"/>
              <a:gd name="T18" fmla="*/ 2147483647 w 66"/>
              <a:gd name="T19" fmla="*/ 2147483647 h 50"/>
              <a:gd name="T20" fmla="*/ 2147483647 w 66"/>
              <a:gd name="T21" fmla="*/ 2147483647 h 50"/>
              <a:gd name="T22" fmla="*/ 2147483647 w 66"/>
              <a:gd name="T23" fmla="*/ 2147483647 h 50"/>
              <a:gd name="T24" fmla="*/ 2147483647 w 66"/>
              <a:gd name="T25" fmla="*/ 2147483647 h 50"/>
              <a:gd name="T26" fmla="*/ 2147483647 w 66"/>
              <a:gd name="T27" fmla="*/ 2147483647 h 50"/>
              <a:gd name="T28" fmla="*/ 2147483647 w 66"/>
              <a:gd name="T29" fmla="*/ 2147483647 h 50"/>
              <a:gd name="T30" fmla="*/ 2147483647 w 66"/>
              <a:gd name="T31" fmla="*/ 2147483647 h 50"/>
              <a:gd name="T32" fmla="*/ 2147483647 w 66"/>
              <a:gd name="T33" fmla="*/ 2147483647 h 50"/>
              <a:gd name="T34" fmla="*/ 2147483647 w 66"/>
              <a:gd name="T35" fmla="*/ 2147483647 h 50"/>
              <a:gd name="T36" fmla="*/ 2147483647 w 66"/>
              <a:gd name="T37" fmla="*/ 0 h 50"/>
              <a:gd name="T38" fmla="*/ 2147483647 w 66"/>
              <a:gd name="T39" fmla="*/ 2147483647 h 50"/>
              <a:gd name="T40" fmla="*/ 2147483647 w 66"/>
              <a:gd name="T41" fmla="*/ 2147483647 h 50"/>
              <a:gd name="T42" fmla="*/ 2147483647 w 66"/>
              <a:gd name="T43" fmla="*/ 2147483647 h 50"/>
              <a:gd name="T44" fmla="*/ 2147483647 w 66"/>
              <a:gd name="T45" fmla="*/ 2147483647 h 50"/>
              <a:gd name="T46" fmla="*/ 0 w 66"/>
              <a:gd name="T47" fmla="*/ 2147483647 h 50"/>
              <a:gd name="T48" fmla="*/ 2147483647 w 66"/>
              <a:gd name="T49" fmla="*/ 2147483647 h 50"/>
              <a:gd name="T50" fmla="*/ 2147483647 w 66"/>
              <a:gd name="T51" fmla="*/ 2147483647 h 50"/>
              <a:gd name="T52" fmla="*/ 2147483647 w 66"/>
              <a:gd name="T53" fmla="*/ 2147483647 h 50"/>
              <a:gd name="T54" fmla="*/ 2147483647 w 66"/>
              <a:gd name="T55" fmla="*/ 2147483647 h 50"/>
              <a:gd name="T56" fmla="*/ 2147483647 w 66"/>
              <a:gd name="T57" fmla="*/ 2147483647 h 50"/>
              <a:gd name="T58" fmla="*/ 2147483647 w 66"/>
              <a:gd name="T59" fmla="*/ 2147483647 h 50"/>
              <a:gd name="T60" fmla="*/ 2147483647 w 66"/>
              <a:gd name="T61" fmla="*/ 2147483647 h 50"/>
              <a:gd name="T62" fmla="*/ 2147483647 w 66"/>
              <a:gd name="T63" fmla="*/ 2147483647 h 50"/>
              <a:gd name="T64" fmla="*/ 2147483647 w 66"/>
              <a:gd name="T65" fmla="*/ 2147483647 h 50"/>
              <a:gd name="T66" fmla="*/ 2147483647 w 66"/>
              <a:gd name="T67" fmla="*/ 2147483647 h 50"/>
              <a:gd name="T68" fmla="*/ 2147483647 w 66"/>
              <a:gd name="T69" fmla="*/ 2147483647 h 50"/>
              <a:gd name="T70" fmla="*/ 2147483647 w 66"/>
              <a:gd name="T71" fmla="*/ 2147483647 h 50"/>
              <a:gd name="T72" fmla="*/ 2147483647 w 66"/>
              <a:gd name="T73" fmla="*/ 2147483647 h 50"/>
              <a:gd name="T74" fmla="*/ 2147483647 w 66"/>
              <a:gd name="T75" fmla="*/ 2147483647 h 50"/>
              <a:gd name="T76" fmla="*/ 2147483647 w 66"/>
              <a:gd name="T77" fmla="*/ 2147483647 h 50"/>
              <a:gd name="T78" fmla="*/ 2147483647 w 66"/>
              <a:gd name="T79" fmla="*/ 2147483647 h 50"/>
              <a:gd name="T80" fmla="*/ 2147483647 w 66"/>
              <a:gd name="T81" fmla="*/ 2147483647 h 50"/>
              <a:gd name="T82" fmla="*/ 2147483647 w 66"/>
              <a:gd name="T83" fmla="*/ 2147483647 h 50"/>
              <a:gd name="T84" fmla="*/ 2147483647 w 66"/>
              <a:gd name="T85" fmla="*/ 2147483647 h 50"/>
              <a:gd name="T86" fmla="*/ 2147483647 w 66"/>
              <a:gd name="T87" fmla="*/ 2147483647 h 50"/>
              <a:gd name="T88" fmla="*/ 2147483647 w 66"/>
              <a:gd name="T89" fmla="*/ 2147483647 h 50"/>
              <a:gd name="T90" fmla="*/ 2147483647 w 66"/>
              <a:gd name="T91" fmla="*/ 2147483647 h 50"/>
              <a:gd name="T92" fmla="*/ 2147483647 w 66"/>
              <a:gd name="T93" fmla="*/ 2147483647 h 50"/>
              <a:gd name="T94" fmla="*/ 2147483647 w 66"/>
              <a:gd name="T95" fmla="*/ 2147483647 h 50"/>
              <a:gd name="T96" fmla="*/ 2147483647 w 66"/>
              <a:gd name="T97" fmla="*/ 2147483647 h 50"/>
              <a:gd name="T98" fmla="*/ 2147483647 w 66"/>
              <a:gd name="T99" fmla="*/ 2147483647 h 50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66"/>
              <a:gd name="T151" fmla="*/ 0 h 50"/>
              <a:gd name="T152" fmla="*/ 66 w 66"/>
              <a:gd name="T153" fmla="*/ 50 h 50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66" h="50">
                <a:moveTo>
                  <a:pt x="65" y="31"/>
                </a:moveTo>
                <a:lnTo>
                  <a:pt x="65" y="28"/>
                </a:lnTo>
                <a:lnTo>
                  <a:pt x="66" y="25"/>
                </a:lnTo>
                <a:lnTo>
                  <a:pt x="64" y="21"/>
                </a:lnTo>
                <a:lnTo>
                  <a:pt x="66" y="20"/>
                </a:lnTo>
                <a:lnTo>
                  <a:pt x="63" y="19"/>
                </a:lnTo>
                <a:lnTo>
                  <a:pt x="63" y="15"/>
                </a:lnTo>
                <a:lnTo>
                  <a:pt x="59" y="11"/>
                </a:lnTo>
                <a:lnTo>
                  <a:pt x="57" y="11"/>
                </a:lnTo>
                <a:lnTo>
                  <a:pt x="57" y="7"/>
                </a:lnTo>
                <a:lnTo>
                  <a:pt x="55" y="6"/>
                </a:lnTo>
                <a:lnTo>
                  <a:pt x="51" y="9"/>
                </a:lnTo>
                <a:lnTo>
                  <a:pt x="45" y="9"/>
                </a:lnTo>
                <a:lnTo>
                  <a:pt x="40" y="8"/>
                </a:lnTo>
                <a:lnTo>
                  <a:pt x="37" y="11"/>
                </a:lnTo>
                <a:lnTo>
                  <a:pt x="34" y="14"/>
                </a:lnTo>
                <a:lnTo>
                  <a:pt x="30" y="10"/>
                </a:lnTo>
                <a:lnTo>
                  <a:pt x="31" y="5"/>
                </a:lnTo>
                <a:lnTo>
                  <a:pt x="26" y="0"/>
                </a:lnTo>
                <a:lnTo>
                  <a:pt x="19" y="3"/>
                </a:lnTo>
                <a:lnTo>
                  <a:pt x="15" y="5"/>
                </a:lnTo>
                <a:lnTo>
                  <a:pt x="8" y="5"/>
                </a:lnTo>
                <a:lnTo>
                  <a:pt x="3" y="4"/>
                </a:lnTo>
                <a:lnTo>
                  <a:pt x="0" y="6"/>
                </a:lnTo>
                <a:lnTo>
                  <a:pt x="2" y="12"/>
                </a:lnTo>
                <a:lnTo>
                  <a:pt x="3" y="22"/>
                </a:lnTo>
                <a:lnTo>
                  <a:pt x="6" y="32"/>
                </a:lnTo>
                <a:lnTo>
                  <a:pt x="6" y="36"/>
                </a:lnTo>
                <a:lnTo>
                  <a:pt x="9" y="42"/>
                </a:lnTo>
                <a:lnTo>
                  <a:pt x="12" y="41"/>
                </a:lnTo>
                <a:lnTo>
                  <a:pt x="14" y="36"/>
                </a:lnTo>
                <a:lnTo>
                  <a:pt x="17" y="38"/>
                </a:lnTo>
                <a:lnTo>
                  <a:pt x="16" y="42"/>
                </a:lnTo>
                <a:lnTo>
                  <a:pt x="20" y="44"/>
                </a:lnTo>
                <a:lnTo>
                  <a:pt x="20" y="46"/>
                </a:lnTo>
                <a:lnTo>
                  <a:pt x="27" y="48"/>
                </a:lnTo>
                <a:lnTo>
                  <a:pt x="30" y="45"/>
                </a:lnTo>
                <a:lnTo>
                  <a:pt x="35" y="44"/>
                </a:lnTo>
                <a:lnTo>
                  <a:pt x="38" y="50"/>
                </a:lnTo>
                <a:lnTo>
                  <a:pt x="43" y="50"/>
                </a:lnTo>
                <a:lnTo>
                  <a:pt x="43" y="47"/>
                </a:lnTo>
                <a:lnTo>
                  <a:pt x="40" y="46"/>
                </a:lnTo>
                <a:lnTo>
                  <a:pt x="40" y="43"/>
                </a:lnTo>
                <a:lnTo>
                  <a:pt x="44" y="40"/>
                </a:lnTo>
                <a:lnTo>
                  <a:pt x="51" y="41"/>
                </a:lnTo>
                <a:lnTo>
                  <a:pt x="55" y="35"/>
                </a:lnTo>
                <a:lnTo>
                  <a:pt x="62" y="35"/>
                </a:lnTo>
                <a:lnTo>
                  <a:pt x="61" y="31"/>
                </a:lnTo>
                <a:lnTo>
                  <a:pt x="63" y="29"/>
                </a:lnTo>
                <a:lnTo>
                  <a:pt x="65" y="31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15" name="Freeform 116"/>
          <p:cNvSpPr>
            <a:spLocks/>
          </p:cNvSpPr>
          <p:nvPr/>
        </p:nvSpPr>
        <p:spPr bwMode="auto">
          <a:xfrm>
            <a:off x="5508182" y="5226049"/>
            <a:ext cx="419100" cy="438150"/>
          </a:xfrm>
          <a:custGeom>
            <a:avLst/>
            <a:gdLst>
              <a:gd name="T0" fmla="*/ 2147483647 w 44"/>
              <a:gd name="T1" fmla="*/ 2147483647 h 46"/>
              <a:gd name="T2" fmla="*/ 2147483647 w 44"/>
              <a:gd name="T3" fmla="*/ 2147483647 h 46"/>
              <a:gd name="T4" fmla="*/ 2147483647 w 44"/>
              <a:gd name="T5" fmla="*/ 2147483647 h 46"/>
              <a:gd name="T6" fmla="*/ 2147483647 w 44"/>
              <a:gd name="T7" fmla="*/ 2147483647 h 46"/>
              <a:gd name="T8" fmla="*/ 2147483647 w 44"/>
              <a:gd name="T9" fmla="*/ 2147483647 h 46"/>
              <a:gd name="T10" fmla="*/ 2147483647 w 44"/>
              <a:gd name="T11" fmla="*/ 2147483647 h 46"/>
              <a:gd name="T12" fmla="*/ 2147483647 w 44"/>
              <a:gd name="T13" fmla="*/ 2147483647 h 46"/>
              <a:gd name="T14" fmla="*/ 2147483647 w 44"/>
              <a:gd name="T15" fmla="*/ 2147483647 h 46"/>
              <a:gd name="T16" fmla="*/ 2147483647 w 44"/>
              <a:gd name="T17" fmla="*/ 2147483647 h 46"/>
              <a:gd name="T18" fmla="*/ 2147483647 w 44"/>
              <a:gd name="T19" fmla="*/ 2147483647 h 46"/>
              <a:gd name="T20" fmla="*/ 2147483647 w 44"/>
              <a:gd name="T21" fmla="*/ 2147483647 h 46"/>
              <a:gd name="T22" fmla="*/ 2147483647 w 44"/>
              <a:gd name="T23" fmla="*/ 2147483647 h 46"/>
              <a:gd name="T24" fmla="*/ 2147483647 w 44"/>
              <a:gd name="T25" fmla="*/ 2147483647 h 46"/>
              <a:gd name="T26" fmla="*/ 2147483647 w 44"/>
              <a:gd name="T27" fmla="*/ 0 h 46"/>
              <a:gd name="T28" fmla="*/ 2147483647 w 44"/>
              <a:gd name="T29" fmla="*/ 2147483647 h 46"/>
              <a:gd name="T30" fmla="*/ 2147483647 w 44"/>
              <a:gd name="T31" fmla="*/ 2147483647 h 46"/>
              <a:gd name="T32" fmla="*/ 2147483647 w 44"/>
              <a:gd name="T33" fmla="*/ 2147483647 h 46"/>
              <a:gd name="T34" fmla="*/ 2147483647 w 44"/>
              <a:gd name="T35" fmla="*/ 2147483647 h 46"/>
              <a:gd name="T36" fmla="*/ 2147483647 w 44"/>
              <a:gd name="T37" fmla="*/ 2147483647 h 46"/>
              <a:gd name="T38" fmla="*/ 2147483647 w 44"/>
              <a:gd name="T39" fmla="*/ 2147483647 h 46"/>
              <a:gd name="T40" fmla="*/ 2147483647 w 44"/>
              <a:gd name="T41" fmla="*/ 2147483647 h 46"/>
              <a:gd name="T42" fmla="*/ 2147483647 w 44"/>
              <a:gd name="T43" fmla="*/ 2147483647 h 46"/>
              <a:gd name="T44" fmla="*/ 2147483647 w 44"/>
              <a:gd name="T45" fmla="*/ 2147483647 h 46"/>
              <a:gd name="T46" fmla="*/ 0 w 44"/>
              <a:gd name="T47" fmla="*/ 2147483647 h 46"/>
              <a:gd name="T48" fmla="*/ 0 w 44"/>
              <a:gd name="T49" fmla="*/ 2147483647 h 46"/>
              <a:gd name="T50" fmla="*/ 0 w 44"/>
              <a:gd name="T51" fmla="*/ 2147483647 h 46"/>
              <a:gd name="T52" fmla="*/ 2147483647 w 44"/>
              <a:gd name="T53" fmla="*/ 2147483647 h 46"/>
              <a:gd name="T54" fmla="*/ 2147483647 w 44"/>
              <a:gd name="T55" fmla="*/ 2147483647 h 46"/>
              <a:gd name="T56" fmla="*/ 2147483647 w 44"/>
              <a:gd name="T57" fmla="*/ 2147483647 h 46"/>
              <a:gd name="T58" fmla="*/ 2147483647 w 44"/>
              <a:gd name="T59" fmla="*/ 2147483647 h 46"/>
              <a:gd name="T60" fmla="*/ 2147483647 w 44"/>
              <a:gd name="T61" fmla="*/ 2147483647 h 46"/>
              <a:gd name="T62" fmla="*/ 2147483647 w 44"/>
              <a:gd name="T63" fmla="*/ 2147483647 h 46"/>
              <a:gd name="T64" fmla="*/ 2147483647 w 44"/>
              <a:gd name="T65" fmla="*/ 2147483647 h 46"/>
              <a:gd name="T66" fmla="*/ 2147483647 w 44"/>
              <a:gd name="T67" fmla="*/ 2147483647 h 46"/>
              <a:gd name="T68" fmla="*/ 2147483647 w 44"/>
              <a:gd name="T69" fmla="*/ 2147483647 h 46"/>
              <a:gd name="T70" fmla="*/ 2147483647 w 44"/>
              <a:gd name="T71" fmla="*/ 2147483647 h 46"/>
              <a:gd name="T72" fmla="*/ 2147483647 w 44"/>
              <a:gd name="T73" fmla="*/ 2147483647 h 46"/>
              <a:gd name="T74" fmla="*/ 2147483647 w 44"/>
              <a:gd name="T75" fmla="*/ 2147483647 h 46"/>
              <a:gd name="T76" fmla="*/ 2147483647 w 44"/>
              <a:gd name="T77" fmla="*/ 2147483647 h 46"/>
              <a:gd name="T78" fmla="*/ 2147483647 w 44"/>
              <a:gd name="T79" fmla="*/ 2147483647 h 46"/>
              <a:gd name="T80" fmla="*/ 2147483647 w 44"/>
              <a:gd name="T81" fmla="*/ 2147483647 h 46"/>
              <a:gd name="T82" fmla="*/ 2147483647 w 44"/>
              <a:gd name="T83" fmla="*/ 2147483647 h 46"/>
              <a:gd name="T84" fmla="*/ 2147483647 w 44"/>
              <a:gd name="T85" fmla="*/ 2147483647 h 46"/>
              <a:gd name="T86" fmla="*/ 2147483647 w 44"/>
              <a:gd name="T87" fmla="*/ 2147483647 h 46"/>
              <a:gd name="T88" fmla="*/ 2147483647 w 44"/>
              <a:gd name="T89" fmla="*/ 2147483647 h 46"/>
              <a:gd name="T90" fmla="*/ 2147483647 w 44"/>
              <a:gd name="T91" fmla="*/ 2147483647 h 4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44"/>
              <a:gd name="T139" fmla="*/ 0 h 46"/>
              <a:gd name="T140" fmla="*/ 44 w 44"/>
              <a:gd name="T141" fmla="*/ 46 h 4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44" h="46">
                <a:moveTo>
                  <a:pt x="39" y="15"/>
                </a:moveTo>
                <a:lnTo>
                  <a:pt x="39" y="17"/>
                </a:lnTo>
                <a:lnTo>
                  <a:pt x="37" y="19"/>
                </a:lnTo>
                <a:lnTo>
                  <a:pt x="32" y="18"/>
                </a:lnTo>
                <a:lnTo>
                  <a:pt x="31" y="15"/>
                </a:lnTo>
                <a:lnTo>
                  <a:pt x="31" y="12"/>
                </a:lnTo>
                <a:lnTo>
                  <a:pt x="33" y="8"/>
                </a:lnTo>
                <a:lnTo>
                  <a:pt x="37" y="8"/>
                </a:lnTo>
                <a:lnTo>
                  <a:pt x="37" y="6"/>
                </a:lnTo>
                <a:lnTo>
                  <a:pt x="35" y="6"/>
                </a:lnTo>
                <a:lnTo>
                  <a:pt x="33" y="4"/>
                </a:lnTo>
                <a:lnTo>
                  <a:pt x="30" y="4"/>
                </a:lnTo>
                <a:lnTo>
                  <a:pt x="27" y="2"/>
                </a:lnTo>
                <a:lnTo>
                  <a:pt x="25" y="0"/>
                </a:lnTo>
                <a:lnTo>
                  <a:pt x="23" y="2"/>
                </a:lnTo>
                <a:lnTo>
                  <a:pt x="24" y="6"/>
                </a:lnTo>
                <a:lnTo>
                  <a:pt x="17" y="6"/>
                </a:lnTo>
                <a:lnTo>
                  <a:pt x="13" y="12"/>
                </a:lnTo>
                <a:lnTo>
                  <a:pt x="6" y="11"/>
                </a:lnTo>
                <a:lnTo>
                  <a:pt x="2" y="14"/>
                </a:lnTo>
                <a:lnTo>
                  <a:pt x="2" y="17"/>
                </a:lnTo>
                <a:lnTo>
                  <a:pt x="5" y="18"/>
                </a:lnTo>
                <a:lnTo>
                  <a:pt x="5" y="21"/>
                </a:lnTo>
                <a:lnTo>
                  <a:pt x="0" y="21"/>
                </a:lnTo>
                <a:lnTo>
                  <a:pt x="0" y="24"/>
                </a:lnTo>
                <a:lnTo>
                  <a:pt x="0" y="27"/>
                </a:lnTo>
                <a:lnTo>
                  <a:pt x="6" y="30"/>
                </a:lnTo>
                <a:lnTo>
                  <a:pt x="5" y="36"/>
                </a:lnTo>
                <a:lnTo>
                  <a:pt x="9" y="36"/>
                </a:lnTo>
                <a:lnTo>
                  <a:pt x="13" y="40"/>
                </a:lnTo>
                <a:lnTo>
                  <a:pt x="18" y="35"/>
                </a:lnTo>
                <a:lnTo>
                  <a:pt x="18" y="37"/>
                </a:lnTo>
                <a:lnTo>
                  <a:pt x="19" y="41"/>
                </a:lnTo>
                <a:lnTo>
                  <a:pt x="21" y="44"/>
                </a:lnTo>
                <a:lnTo>
                  <a:pt x="24" y="46"/>
                </a:lnTo>
                <a:lnTo>
                  <a:pt x="28" y="45"/>
                </a:lnTo>
                <a:lnTo>
                  <a:pt x="30" y="41"/>
                </a:lnTo>
                <a:lnTo>
                  <a:pt x="36" y="42"/>
                </a:lnTo>
                <a:lnTo>
                  <a:pt x="42" y="39"/>
                </a:lnTo>
                <a:lnTo>
                  <a:pt x="41" y="36"/>
                </a:lnTo>
                <a:lnTo>
                  <a:pt x="41" y="30"/>
                </a:lnTo>
                <a:lnTo>
                  <a:pt x="44" y="30"/>
                </a:lnTo>
                <a:lnTo>
                  <a:pt x="44" y="27"/>
                </a:lnTo>
                <a:lnTo>
                  <a:pt x="41" y="24"/>
                </a:lnTo>
                <a:lnTo>
                  <a:pt x="39" y="22"/>
                </a:lnTo>
                <a:lnTo>
                  <a:pt x="39" y="15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16" name="Freeform 117"/>
          <p:cNvSpPr>
            <a:spLocks/>
          </p:cNvSpPr>
          <p:nvPr/>
        </p:nvSpPr>
        <p:spPr bwMode="auto">
          <a:xfrm>
            <a:off x="6568632" y="4635499"/>
            <a:ext cx="1219200" cy="952500"/>
          </a:xfrm>
          <a:custGeom>
            <a:avLst/>
            <a:gdLst>
              <a:gd name="T0" fmla="*/ 0 w 128"/>
              <a:gd name="T1" fmla="*/ 2147483647 h 100"/>
              <a:gd name="T2" fmla="*/ 2147483647 w 128"/>
              <a:gd name="T3" fmla="*/ 2147483647 h 100"/>
              <a:gd name="T4" fmla="*/ 2147483647 w 128"/>
              <a:gd name="T5" fmla="*/ 2147483647 h 100"/>
              <a:gd name="T6" fmla="*/ 2147483647 w 128"/>
              <a:gd name="T7" fmla="*/ 2147483647 h 100"/>
              <a:gd name="T8" fmla="*/ 2147483647 w 128"/>
              <a:gd name="T9" fmla="*/ 2147483647 h 100"/>
              <a:gd name="T10" fmla="*/ 2147483647 w 128"/>
              <a:gd name="T11" fmla="*/ 2147483647 h 100"/>
              <a:gd name="T12" fmla="*/ 2147483647 w 128"/>
              <a:gd name="T13" fmla="*/ 2147483647 h 100"/>
              <a:gd name="T14" fmla="*/ 2147483647 w 128"/>
              <a:gd name="T15" fmla="*/ 2147483647 h 100"/>
              <a:gd name="T16" fmla="*/ 2147483647 w 128"/>
              <a:gd name="T17" fmla="*/ 2147483647 h 100"/>
              <a:gd name="T18" fmla="*/ 2147483647 w 128"/>
              <a:gd name="T19" fmla="*/ 2147483647 h 100"/>
              <a:gd name="T20" fmla="*/ 2147483647 w 128"/>
              <a:gd name="T21" fmla="*/ 2147483647 h 100"/>
              <a:gd name="T22" fmla="*/ 2147483647 w 128"/>
              <a:gd name="T23" fmla="*/ 2147483647 h 100"/>
              <a:gd name="T24" fmla="*/ 2147483647 w 128"/>
              <a:gd name="T25" fmla="*/ 2147483647 h 100"/>
              <a:gd name="T26" fmla="*/ 2147483647 w 128"/>
              <a:gd name="T27" fmla="*/ 2147483647 h 100"/>
              <a:gd name="T28" fmla="*/ 2147483647 w 128"/>
              <a:gd name="T29" fmla="*/ 2147483647 h 100"/>
              <a:gd name="T30" fmla="*/ 2147483647 w 128"/>
              <a:gd name="T31" fmla="*/ 2147483647 h 100"/>
              <a:gd name="T32" fmla="*/ 2147483647 w 128"/>
              <a:gd name="T33" fmla="*/ 2147483647 h 100"/>
              <a:gd name="T34" fmla="*/ 2147483647 w 128"/>
              <a:gd name="T35" fmla="*/ 2147483647 h 100"/>
              <a:gd name="T36" fmla="*/ 2147483647 w 128"/>
              <a:gd name="T37" fmla="*/ 2147483647 h 100"/>
              <a:gd name="T38" fmla="*/ 2147483647 w 128"/>
              <a:gd name="T39" fmla="*/ 2147483647 h 100"/>
              <a:gd name="T40" fmla="*/ 2147483647 w 128"/>
              <a:gd name="T41" fmla="*/ 2147483647 h 100"/>
              <a:gd name="T42" fmla="*/ 2147483647 w 128"/>
              <a:gd name="T43" fmla="*/ 2147483647 h 100"/>
              <a:gd name="T44" fmla="*/ 2147483647 w 128"/>
              <a:gd name="T45" fmla="*/ 2147483647 h 100"/>
              <a:gd name="T46" fmla="*/ 2147483647 w 128"/>
              <a:gd name="T47" fmla="*/ 2147483647 h 100"/>
              <a:gd name="T48" fmla="*/ 2147483647 w 128"/>
              <a:gd name="T49" fmla="*/ 2147483647 h 100"/>
              <a:gd name="T50" fmla="*/ 2147483647 w 128"/>
              <a:gd name="T51" fmla="*/ 2147483647 h 100"/>
              <a:gd name="T52" fmla="*/ 2147483647 w 128"/>
              <a:gd name="T53" fmla="*/ 2147483647 h 100"/>
              <a:gd name="T54" fmla="*/ 2147483647 w 128"/>
              <a:gd name="T55" fmla="*/ 2147483647 h 100"/>
              <a:gd name="T56" fmla="*/ 2147483647 w 128"/>
              <a:gd name="T57" fmla="*/ 2147483647 h 100"/>
              <a:gd name="T58" fmla="*/ 2147483647 w 128"/>
              <a:gd name="T59" fmla="*/ 2147483647 h 100"/>
              <a:gd name="T60" fmla="*/ 2147483647 w 128"/>
              <a:gd name="T61" fmla="*/ 2147483647 h 100"/>
              <a:gd name="T62" fmla="*/ 2147483647 w 128"/>
              <a:gd name="T63" fmla="*/ 2147483647 h 100"/>
              <a:gd name="T64" fmla="*/ 2147483647 w 128"/>
              <a:gd name="T65" fmla="*/ 2147483647 h 100"/>
              <a:gd name="T66" fmla="*/ 2147483647 w 128"/>
              <a:gd name="T67" fmla="*/ 2147483647 h 100"/>
              <a:gd name="T68" fmla="*/ 2147483647 w 128"/>
              <a:gd name="T69" fmla="*/ 2147483647 h 100"/>
              <a:gd name="T70" fmla="*/ 2147483647 w 128"/>
              <a:gd name="T71" fmla="*/ 2147483647 h 100"/>
              <a:gd name="T72" fmla="*/ 2147483647 w 128"/>
              <a:gd name="T73" fmla="*/ 2147483647 h 100"/>
              <a:gd name="T74" fmla="*/ 2147483647 w 128"/>
              <a:gd name="T75" fmla="*/ 2147483647 h 100"/>
              <a:gd name="T76" fmla="*/ 2147483647 w 128"/>
              <a:gd name="T77" fmla="*/ 2147483647 h 100"/>
              <a:gd name="T78" fmla="*/ 2147483647 w 128"/>
              <a:gd name="T79" fmla="*/ 2147483647 h 100"/>
              <a:gd name="T80" fmla="*/ 2147483647 w 128"/>
              <a:gd name="T81" fmla="*/ 2147483647 h 100"/>
              <a:gd name="T82" fmla="*/ 2147483647 w 128"/>
              <a:gd name="T83" fmla="*/ 2147483647 h 100"/>
              <a:gd name="T84" fmla="*/ 2147483647 w 128"/>
              <a:gd name="T85" fmla="*/ 2147483647 h 100"/>
              <a:gd name="T86" fmla="*/ 2147483647 w 128"/>
              <a:gd name="T87" fmla="*/ 2147483647 h 100"/>
              <a:gd name="T88" fmla="*/ 2147483647 w 128"/>
              <a:gd name="T89" fmla="*/ 2147483647 h 100"/>
              <a:gd name="T90" fmla="*/ 2147483647 w 128"/>
              <a:gd name="T91" fmla="*/ 2147483647 h 100"/>
              <a:gd name="T92" fmla="*/ 2147483647 w 128"/>
              <a:gd name="T93" fmla="*/ 2147483647 h 100"/>
              <a:gd name="T94" fmla="*/ 2147483647 w 128"/>
              <a:gd name="T95" fmla="*/ 2147483647 h 100"/>
              <a:gd name="T96" fmla="*/ 2147483647 w 128"/>
              <a:gd name="T97" fmla="*/ 2147483647 h 100"/>
              <a:gd name="T98" fmla="*/ 2147483647 w 128"/>
              <a:gd name="T99" fmla="*/ 2147483647 h 100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28"/>
              <a:gd name="T151" fmla="*/ 0 h 100"/>
              <a:gd name="T152" fmla="*/ 128 w 128"/>
              <a:gd name="T153" fmla="*/ 100 h 100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28" h="100">
                <a:moveTo>
                  <a:pt x="2" y="77"/>
                </a:moveTo>
                <a:lnTo>
                  <a:pt x="0" y="74"/>
                </a:lnTo>
                <a:lnTo>
                  <a:pt x="3" y="72"/>
                </a:lnTo>
                <a:lnTo>
                  <a:pt x="3" y="67"/>
                </a:lnTo>
                <a:lnTo>
                  <a:pt x="5" y="67"/>
                </a:lnTo>
                <a:lnTo>
                  <a:pt x="11" y="62"/>
                </a:lnTo>
                <a:lnTo>
                  <a:pt x="14" y="64"/>
                </a:lnTo>
                <a:lnTo>
                  <a:pt x="13" y="66"/>
                </a:lnTo>
                <a:lnTo>
                  <a:pt x="21" y="71"/>
                </a:lnTo>
                <a:lnTo>
                  <a:pt x="25" y="76"/>
                </a:lnTo>
                <a:lnTo>
                  <a:pt x="31" y="75"/>
                </a:lnTo>
                <a:lnTo>
                  <a:pt x="35" y="79"/>
                </a:lnTo>
                <a:lnTo>
                  <a:pt x="36" y="85"/>
                </a:lnTo>
                <a:lnTo>
                  <a:pt x="40" y="85"/>
                </a:lnTo>
                <a:lnTo>
                  <a:pt x="40" y="88"/>
                </a:lnTo>
                <a:lnTo>
                  <a:pt x="45" y="85"/>
                </a:lnTo>
                <a:lnTo>
                  <a:pt x="48" y="85"/>
                </a:lnTo>
                <a:lnTo>
                  <a:pt x="48" y="82"/>
                </a:lnTo>
                <a:lnTo>
                  <a:pt x="52" y="80"/>
                </a:lnTo>
                <a:lnTo>
                  <a:pt x="56" y="78"/>
                </a:lnTo>
                <a:lnTo>
                  <a:pt x="57" y="75"/>
                </a:lnTo>
                <a:lnTo>
                  <a:pt x="58" y="71"/>
                </a:lnTo>
                <a:lnTo>
                  <a:pt x="62" y="71"/>
                </a:lnTo>
                <a:lnTo>
                  <a:pt x="65" y="66"/>
                </a:lnTo>
                <a:lnTo>
                  <a:pt x="69" y="66"/>
                </a:lnTo>
                <a:lnTo>
                  <a:pt x="71" y="63"/>
                </a:lnTo>
                <a:lnTo>
                  <a:pt x="71" y="58"/>
                </a:lnTo>
                <a:lnTo>
                  <a:pt x="75" y="58"/>
                </a:lnTo>
                <a:lnTo>
                  <a:pt x="75" y="55"/>
                </a:lnTo>
                <a:lnTo>
                  <a:pt x="73" y="55"/>
                </a:lnTo>
                <a:lnTo>
                  <a:pt x="74" y="51"/>
                </a:lnTo>
                <a:lnTo>
                  <a:pt x="76" y="51"/>
                </a:lnTo>
                <a:lnTo>
                  <a:pt x="78" y="48"/>
                </a:lnTo>
                <a:lnTo>
                  <a:pt x="78" y="44"/>
                </a:lnTo>
                <a:lnTo>
                  <a:pt x="77" y="43"/>
                </a:lnTo>
                <a:lnTo>
                  <a:pt x="78" y="35"/>
                </a:lnTo>
                <a:lnTo>
                  <a:pt x="78" y="32"/>
                </a:lnTo>
                <a:lnTo>
                  <a:pt x="78" y="26"/>
                </a:lnTo>
                <a:lnTo>
                  <a:pt x="75" y="26"/>
                </a:lnTo>
                <a:lnTo>
                  <a:pt x="73" y="30"/>
                </a:lnTo>
                <a:lnTo>
                  <a:pt x="73" y="35"/>
                </a:lnTo>
                <a:lnTo>
                  <a:pt x="72" y="37"/>
                </a:lnTo>
                <a:lnTo>
                  <a:pt x="70" y="36"/>
                </a:lnTo>
                <a:lnTo>
                  <a:pt x="71" y="26"/>
                </a:lnTo>
                <a:lnTo>
                  <a:pt x="74" y="24"/>
                </a:lnTo>
                <a:lnTo>
                  <a:pt x="70" y="21"/>
                </a:lnTo>
                <a:lnTo>
                  <a:pt x="69" y="18"/>
                </a:lnTo>
                <a:lnTo>
                  <a:pt x="76" y="16"/>
                </a:lnTo>
                <a:lnTo>
                  <a:pt x="76" y="13"/>
                </a:lnTo>
                <a:lnTo>
                  <a:pt x="83" y="13"/>
                </a:lnTo>
                <a:lnTo>
                  <a:pt x="86" y="12"/>
                </a:lnTo>
                <a:lnTo>
                  <a:pt x="86" y="8"/>
                </a:lnTo>
                <a:lnTo>
                  <a:pt x="90" y="9"/>
                </a:lnTo>
                <a:lnTo>
                  <a:pt x="92" y="11"/>
                </a:lnTo>
                <a:lnTo>
                  <a:pt x="94" y="9"/>
                </a:lnTo>
                <a:lnTo>
                  <a:pt x="95" y="12"/>
                </a:lnTo>
                <a:lnTo>
                  <a:pt x="105" y="10"/>
                </a:lnTo>
                <a:lnTo>
                  <a:pt x="110" y="8"/>
                </a:lnTo>
                <a:lnTo>
                  <a:pt x="110" y="3"/>
                </a:lnTo>
                <a:lnTo>
                  <a:pt x="112" y="4"/>
                </a:lnTo>
                <a:lnTo>
                  <a:pt x="113" y="0"/>
                </a:lnTo>
                <a:lnTo>
                  <a:pt x="115" y="1"/>
                </a:lnTo>
                <a:lnTo>
                  <a:pt x="115" y="3"/>
                </a:lnTo>
                <a:lnTo>
                  <a:pt x="114" y="5"/>
                </a:lnTo>
                <a:lnTo>
                  <a:pt x="113" y="9"/>
                </a:lnTo>
                <a:lnTo>
                  <a:pt x="116" y="12"/>
                </a:lnTo>
                <a:lnTo>
                  <a:pt x="119" y="23"/>
                </a:lnTo>
                <a:lnTo>
                  <a:pt x="123" y="23"/>
                </a:lnTo>
                <a:lnTo>
                  <a:pt x="127" y="26"/>
                </a:lnTo>
                <a:lnTo>
                  <a:pt x="128" y="32"/>
                </a:lnTo>
                <a:lnTo>
                  <a:pt x="124" y="35"/>
                </a:lnTo>
                <a:lnTo>
                  <a:pt x="120" y="35"/>
                </a:lnTo>
                <a:lnTo>
                  <a:pt x="118" y="40"/>
                </a:lnTo>
                <a:lnTo>
                  <a:pt x="110" y="45"/>
                </a:lnTo>
                <a:lnTo>
                  <a:pt x="110" y="50"/>
                </a:lnTo>
                <a:lnTo>
                  <a:pt x="114" y="52"/>
                </a:lnTo>
                <a:lnTo>
                  <a:pt x="114" y="57"/>
                </a:lnTo>
                <a:lnTo>
                  <a:pt x="110" y="61"/>
                </a:lnTo>
                <a:lnTo>
                  <a:pt x="104" y="63"/>
                </a:lnTo>
                <a:lnTo>
                  <a:pt x="104" y="66"/>
                </a:lnTo>
                <a:lnTo>
                  <a:pt x="99" y="65"/>
                </a:lnTo>
                <a:cubicBezTo>
                  <a:pt x="99" y="65"/>
                  <a:pt x="91" y="77"/>
                  <a:pt x="91" y="77"/>
                </a:cubicBezTo>
                <a:cubicBezTo>
                  <a:pt x="90" y="77"/>
                  <a:pt x="85" y="76"/>
                  <a:pt x="85" y="76"/>
                </a:cubicBezTo>
                <a:lnTo>
                  <a:pt x="82" y="80"/>
                </a:lnTo>
                <a:lnTo>
                  <a:pt x="75" y="78"/>
                </a:lnTo>
                <a:lnTo>
                  <a:pt x="75" y="85"/>
                </a:lnTo>
                <a:lnTo>
                  <a:pt x="72" y="88"/>
                </a:lnTo>
                <a:lnTo>
                  <a:pt x="77" y="91"/>
                </a:lnTo>
                <a:lnTo>
                  <a:pt x="77" y="93"/>
                </a:lnTo>
                <a:lnTo>
                  <a:pt x="71" y="94"/>
                </a:lnTo>
                <a:lnTo>
                  <a:pt x="71" y="100"/>
                </a:lnTo>
                <a:lnTo>
                  <a:pt x="66" y="99"/>
                </a:lnTo>
                <a:lnTo>
                  <a:pt x="66" y="95"/>
                </a:lnTo>
                <a:lnTo>
                  <a:pt x="52" y="94"/>
                </a:lnTo>
                <a:lnTo>
                  <a:pt x="46" y="100"/>
                </a:lnTo>
                <a:lnTo>
                  <a:pt x="37" y="100"/>
                </a:lnTo>
                <a:lnTo>
                  <a:pt x="28" y="95"/>
                </a:lnTo>
                <a:lnTo>
                  <a:pt x="27" y="85"/>
                </a:lnTo>
                <a:lnTo>
                  <a:pt x="14" y="82"/>
                </a:lnTo>
                <a:lnTo>
                  <a:pt x="5" y="79"/>
                </a:lnTo>
                <a:lnTo>
                  <a:pt x="2" y="7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17" name="Freeform 118"/>
          <p:cNvSpPr>
            <a:spLocks/>
          </p:cNvSpPr>
          <p:nvPr/>
        </p:nvSpPr>
        <p:spPr bwMode="auto">
          <a:xfrm>
            <a:off x="7248082" y="4483099"/>
            <a:ext cx="923925" cy="1162050"/>
          </a:xfrm>
          <a:custGeom>
            <a:avLst/>
            <a:gdLst>
              <a:gd name="T0" fmla="*/ 0 w 97"/>
              <a:gd name="T1" fmla="*/ 2147483647 h 122"/>
              <a:gd name="T2" fmla="*/ 2147483647 w 97"/>
              <a:gd name="T3" fmla="*/ 2147483647 h 122"/>
              <a:gd name="T4" fmla="*/ 2147483647 w 97"/>
              <a:gd name="T5" fmla="*/ 2147483647 h 122"/>
              <a:gd name="T6" fmla="*/ 2147483647 w 97"/>
              <a:gd name="T7" fmla="*/ 2147483647 h 122"/>
              <a:gd name="T8" fmla="*/ 2147483647 w 97"/>
              <a:gd name="T9" fmla="*/ 2147483647 h 122"/>
              <a:gd name="T10" fmla="*/ 2147483647 w 97"/>
              <a:gd name="T11" fmla="*/ 2147483647 h 122"/>
              <a:gd name="T12" fmla="*/ 2147483647 w 97"/>
              <a:gd name="T13" fmla="*/ 2147483647 h 122"/>
              <a:gd name="T14" fmla="*/ 2147483647 w 97"/>
              <a:gd name="T15" fmla="*/ 2147483647 h 122"/>
              <a:gd name="T16" fmla="*/ 2147483647 w 97"/>
              <a:gd name="T17" fmla="*/ 2147483647 h 122"/>
              <a:gd name="T18" fmla="*/ 2147483647 w 97"/>
              <a:gd name="T19" fmla="*/ 2147483647 h 122"/>
              <a:gd name="T20" fmla="*/ 2147483647 w 97"/>
              <a:gd name="T21" fmla="*/ 2147483647 h 122"/>
              <a:gd name="T22" fmla="*/ 2147483647 w 97"/>
              <a:gd name="T23" fmla="*/ 2147483647 h 122"/>
              <a:gd name="T24" fmla="*/ 2147483647 w 97"/>
              <a:gd name="T25" fmla="*/ 2147483647 h 122"/>
              <a:gd name="T26" fmla="*/ 2147483647 w 97"/>
              <a:gd name="T27" fmla="*/ 2147483647 h 122"/>
              <a:gd name="T28" fmla="*/ 2147483647 w 97"/>
              <a:gd name="T29" fmla="*/ 2147483647 h 122"/>
              <a:gd name="T30" fmla="*/ 2147483647 w 97"/>
              <a:gd name="T31" fmla="*/ 2147483647 h 122"/>
              <a:gd name="T32" fmla="*/ 2147483647 w 97"/>
              <a:gd name="T33" fmla="*/ 0 h 122"/>
              <a:gd name="T34" fmla="*/ 2147483647 w 97"/>
              <a:gd name="T35" fmla="*/ 2147483647 h 122"/>
              <a:gd name="T36" fmla="*/ 2147483647 w 97"/>
              <a:gd name="T37" fmla="*/ 2147483647 h 122"/>
              <a:gd name="T38" fmla="*/ 2147483647 w 97"/>
              <a:gd name="T39" fmla="*/ 2147483647 h 122"/>
              <a:gd name="T40" fmla="*/ 2147483647 w 97"/>
              <a:gd name="T41" fmla="*/ 2147483647 h 122"/>
              <a:gd name="T42" fmla="*/ 2147483647 w 97"/>
              <a:gd name="T43" fmla="*/ 2147483647 h 122"/>
              <a:gd name="T44" fmla="*/ 2147483647 w 97"/>
              <a:gd name="T45" fmla="*/ 2147483647 h 122"/>
              <a:gd name="T46" fmla="*/ 2147483647 w 97"/>
              <a:gd name="T47" fmla="*/ 2147483647 h 122"/>
              <a:gd name="T48" fmla="*/ 2147483647 w 97"/>
              <a:gd name="T49" fmla="*/ 2147483647 h 122"/>
              <a:gd name="T50" fmla="*/ 2147483647 w 97"/>
              <a:gd name="T51" fmla="*/ 2147483647 h 122"/>
              <a:gd name="T52" fmla="*/ 2147483647 w 97"/>
              <a:gd name="T53" fmla="*/ 2147483647 h 122"/>
              <a:gd name="T54" fmla="*/ 2147483647 w 97"/>
              <a:gd name="T55" fmla="*/ 2147483647 h 122"/>
              <a:gd name="T56" fmla="*/ 2147483647 w 97"/>
              <a:gd name="T57" fmla="*/ 2147483647 h 122"/>
              <a:gd name="T58" fmla="*/ 2147483647 w 97"/>
              <a:gd name="T59" fmla="*/ 2147483647 h 122"/>
              <a:gd name="T60" fmla="*/ 2147483647 w 97"/>
              <a:gd name="T61" fmla="*/ 2147483647 h 122"/>
              <a:gd name="T62" fmla="*/ 2147483647 w 97"/>
              <a:gd name="T63" fmla="*/ 2147483647 h 122"/>
              <a:gd name="T64" fmla="*/ 2147483647 w 97"/>
              <a:gd name="T65" fmla="*/ 2147483647 h 122"/>
              <a:gd name="T66" fmla="*/ 2147483647 w 97"/>
              <a:gd name="T67" fmla="*/ 2147483647 h 122"/>
              <a:gd name="T68" fmla="*/ 2147483647 w 97"/>
              <a:gd name="T69" fmla="*/ 2147483647 h 122"/>
              <a:gd name="T70" fmla="*/ 2147483647 w 97"/>
              <a:gd name="T71" fmla="*/ 2147483647 h 122"/>
              <a:gd name="T72" fmla="*/ 2147483647 w 97"/>
              <a:gd name="T73" fmla="*/ 2147483647 h 122"/>
              <a:gd name="T74" fmla="*/ 2147483647 w 97"/>
              <a:gd name="T75" fmla="*/ 2147483647 h 122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97"/>
              <a:gd name="T115" fmla="*/ 0 h 122"/>
              <a:gd name="T116" fmla="*/ 97 w 97"/>
              <a:gd name="T117" fmla="*/ 122 h 122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97" h="122">
                <a:moveTo>
                  <a:pt x="0" y="116"/>
                </a:moveTo>
                <a:lnTo>
                  <a:pt x="0" y="110"/>
                </a:lnTo>
                <a:lnTo>
                  <a:pt x="6" y="109"/>
                </a:lnTo>
                <a:lnTo>
                  <a:pt x="6" y="107"/>
                </a:lnTo>
                <a:lnTo>
                  <a:pt x="1" y="104"/>
                </a:lnTo>
                <a:lnTo>
                  <a:pt x="4" y="101"/>
                </a:lnTo>
                <a:lnTo>
                  <a:pt x="4" y="94"/>
                </a:lnTo>
                <a:lnTo>
                  <a:pt x="11" y="96"/>
                </a:lnTo>
                <a:lnTo>
                  <a:pt x="14" y="92"/>
                </a:lnTo>
                <a:cubicBezTo>
                  <a:pt x="14" y="92"/>
                  <a:pt x="19" y="93"/>
                  <a:pt x="20" y="93"/>
                </a:cubicBezTo>
                <a:cubicBezTo>
                  <a:pt x="20" y="93"/>
                  <a:pt x="28" y="81"/>
                  <a:pt x="28" y="81"/>
                </a:cubicBezTo>
                <a:lnTo>
                  <a:pt x="33" y="82"/>
                </a:lnTo>
                <a:lnTo>
                  <a:pt x="33" y="79"/>
                </a:lnTo>
                <a:lnTo>
                  <a:pt x="39" y="77"/>
                </a:lnTo>
                <a:lnTo>
                  <a:pt x="43" y="73"/>
                </a:lnTo>
                <a:lnTo>
                  <a:pt x="43" y="68"/>
                </a:lnTo>
                <a:lnTo>
                  <a:pt x="39" y="66"/>
                </a:lnTo>
                <a:lnTo>
                  <a:pt x="39" y="61"/>
                </a:lnTo>
                <a:lnTo>
                  <a:pt x="47" y="56"/>
                </a:lnTo>
                <a:lnTo>
                  <a:pt x="49" y="51"/>
                </a:lnTo>
                <a:lnTo>
                  <a:pt x="53" y="51"/>
                </a:lnTo>
                <a:lnTo>
                  <a:pt x="57" y="48"/>
                </a:lnTo>
                <a:lnTo>
                  <a:pt x="56" y="42"/>
                </a:lnTo>
                <a:lnTo>
                  <a:pt x="52" y="39"/>
                </a:lnTo>
                <a:lnTo>
                  <a:pt x="48" y="39"/>
                </a:lnTo>
                <a:lnTo>
                  <a:pt x="45" y="28"/>
                </a:lnTo>
                <a:lnTo>
                  <a:pt x="42" y="25"/>
                </a:lnTo>
                <a:lnTo>
                  <a:pt x="43" y="21"/>
                </a:lnTo>
                <a:lnTo>
                  <a:pt x="48" y="22"/>
                </a:lnTo>
                <a:lnTo>
                  <a:pt x="56" y="19"/>
                </a:lnTo>
                <a:lnTo>
                  <a:pt x="56" y="14"/>
                </a:lnTo>
                <a:lnTo>
                  <a:pt x="50" y="10"/>
                </a:lnTo>
                <a:lnTo>
                  <a:pt x="50" y="4"/>
                </a:lnTo>
                <a:lnTo>
                  <a:pt x="52" y="0"/>
                </a:lnTo>
                <a:lnTo>
                  <a:pt x="61" y="1"/>
                </a:lnTo>
                <a:lnTo>
                  <a:pt x="61" y="3"/>
                </a:lnTo>
                <a:lnTo>
                  <a:pt x="64" y="7"/>
                </a:lnTo>
                <a:lnTo>
                  <a:pt x="67" y="15"/>
                </a:lnTo>
                <a:lnTo>
                  <a:pt x="70" y="14"/>
                </a:lnTo>
                <a:lnTo>
                  <a:pt x="71" y="17"/>
                </a:lnTo>
                <a:lnTo>
                  <a:pt x="75" y="19"/>
                </a:lnTo>
                <a:lnTo>
                  <a:pt x="74" y="22"/>
                </a:lnTo>
                <a:lnTo>
                  <a:pt x="75" y="25"/>
                </a:lnTo>
                <a:lnTo>
                  <a:pt x="79" y="22"/>
                </a:lnTo>
                <a:lnTo>
                  <a:pt x="82" y="22"/>
                </a:lnTo>
                <a:lnTo>
                  <a:pt x="83" y="27"/>
                </a:lnTo>
                <a:lnTo>
                  <a:pt x="88" y="25"/>
                </a:lnTo>
                <a:lnTo>
                  <a:pt x="88" y="28"/>
                </a:lnTo>
                <a:lnTo>
                  <a:pt x="89" y="35"/>
                </a:lnTo>
                <a:lnTo>
                  <a:pt x="93" y="36"/>
                </a:lnTo>
                <a:lnTo>
                  <a:pt x="93" y="38"/>
                </a:lnTo>
                <a:lnTo>
                  <a:pt x="90" y="39"/>
                </a:lnTo>
                <a:lnTo>
                  <a:pt x="90" y="43"/>
                </a:lnTo>
                <a:lnTo>
                  <a:pt x="97" y="50"/>
                </a:lnTo>
                <a:lnTo>
                  <a:pt x="88" y="54"/>
                </a:lnTo>
                <a:lnTo>
                  <a:pt x="86" y="62"/>
                </a:lnTo>
                <a:lnTo>
                  <a:pt x="91" y="62"/>
                </a:lnTo>
                <a:lnTo>
                  <a:pt x="94" y="71"/>
                </a:lnTo>
                <a:lnTo>
                  <a:pt x="90" y="75"/>
                </a:lnTo>
                <a:lnTo>
                  <a:pt x="87" y="89"/>
                </a:lnTo>
                <a:lnTo>
                  <a:pt x="90" y="96"/>
                </a:lnTo>
                <a:lnTo>
                  <a:pt x="85" y="99"/>
                </a:lnTo>
                <a:lnTo>
                  <a:pt x="82" y="106"/>
                </a:lnTo>
                <a:lnTo>
                  <a:pt x="71" y="103"/>
                </a:lnTo>
                <a:lnTo>
                  <a:pt x="66" y="101"/>
                </a:lnTo>
                <a:lnTo>
                  <a:pt x="62" y="105"/>
                </a:lnTo>
                <a:lnTo>
                  <a:pt x="56" y="103"/>
                </a:lnTo>
                <a:lnTo>
                  <a:pt x="50" y="103"/>
                </a:lnTo>
                <a:lnTo>
                  <a:pt x="43" y="110"/>
                </a:lnTo>
                <a:lnTo>
                  <a:pt x="45" y="115"/>
                </a:lnTo>
                <a:lnTo>
                  <a:pt x="38" y="114"/>
                </a:lnTo>
                <a:lnTo>
                  <a:pt x="29" y="118"/>
                </a:lnTo>
                <a:lnTo>
                  <a:pt x="19" y="122"/>
                </a:lnTo>
                <a:lnTo>
                  <a:pt x="9" y="121"/>
                </a:lnTo>
                <a:lnTo>
                  <a:pt x="5" y="120"/>
                </a:lnTo>
                <a:lnTo>
                  <a:pt x="3" y="116"/>
                </a:lnTo>
                <a:lnTo>
                  <a:pt x="0" y="11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18" name="Freeform 119"/>
          <p:cNvSpPr>
            <a:spLocks/>
          </p:cNvSpPr>
          <p:nvPr/>
        </p:nvSpPr>
        <p:spPr bwMode="auto">
          <a:xfrm>
            <a:off x="7918007" y="4435474"/>
            <a:ext cx="1104900" cy="781050"/>
          </a:xfrm>
          <a:custGeom>
            <a:avLst/>
            <a:gdLst>
              <a:gd name="T0" fmla="*/ 2147483647 w 116"/>
              <a:gd name="T1" fmla="*/ 2147483647 h 82"/>
              <a:gd name="T2" fmla="*/ 2147483647 w 116"/>
              <a:gd name="T3" fmla="*/ 2147483647 h 82"/>
              <a:gd name="T4" fmla="*/ 2147483647 w 116"/>
              <a:gd name="T5" fmla="*/ 2147483647 h 82"/>
              <a:gd name="T6" fmla="*/ 2147483647 w 116"/>
              <a:gd name="T7" fmla="*/ 2147483647 h 82"/>
              <a:gd name="T8" fmla="*/ 2147483647 w 116"/>
              <a:gd name="T9" fmla="*/ 2147483647 h 82"/>
              <a:gd name="T10" fmla="*/ 2147483647 w 116"/>
              <a:gd name="T11" fmla="*/ 2147483647 h 82"/>
              <a:gd name="T12" fmla="*/ 2147483647 w 116"/>
              <a:gd name="T13" fmla="*/ 2147483647 h 82"/>
              <a:gd name="T14" fmla="*/ 0 w 116"/>
              <a:gd name="T15" fmla="*/ 2147483647 h 82"/>
              <a:gd name="T16" fmla="*/ 2147483647 w 116"/>
              <a:gd name="T17" fmla="*/ 2147483647 h 82"/>
              <a:gd name="T18" fmla="*/ 2147483647 w 116"/>
              <a:gd name="T19" fmla="*/ 2147483647 h 82"/>
              <a:gd name="T20" fmla="*/ 2147483647 w 116"/>
              <a:gd name="T21" fmla="*/ 2147483647 h 82"/>
              <a:gd name="T22" fmla="*/ 2147483647 w 116"/>
              <a:gd name="T23" fmla="*/ 2147483647 h 82"/>
              <a:gd name="T24" fmla="*/ 2147483647 w 116"/>
              <a:gd name="T25" fmla="*/ 2147483647 h 82"/>
              <a:gd name="T26" fmla="*/ 2147483647 w 116"/>
              <a:gd name="T27" fmla="*/ 2147483647 h 82"/>
              <a:gd name="T28" fmla="*/ 2147483647 w 116"/>
              <a:gd name="T29" fmla="*/ 2147483647 h 82"/>
              <a:gd name="T30" fmla="*/ 2147483647 w 116"/>
              <a:gd name="T31" fmla="*/ 2147483647 h 82"/>
              <a:gd name="T32" fmla="*/ 2147483647 w 116"/>
              <a:gd name="T33" fmla="*/ 2147483647 h 82"/>
              <a:gd name="T34" fmla="*/ 2147483647 w 116"/>
              <a:gd name="T35" fmla="*/ 2147483647 h 82"/>
              <a:gd name="T36" fmla="*/ 2147483647 w 116"/>
              <a:gd name="T37" fmla="*/ 2147483647 h 82"/>
              <a:gd name="T38" fmla="*/ 2147483647 w 116"/>
              <a:gd name="T39" fmla="*/ 2147483647 h 82"/>
              <a:gd name="T40" fmla="*/ 2147483647 w 116"/>
              <a:gd name="T41" fmla="*/ 2147483647 h 82"/>
              <a:gd name="T42" fmla="*/ 2147483647 w 116"/>
              <a:gd name="T43" fmla="*/ 2147483647 h 82"/>
              <a:gd name="T44" fmla="*/ 2147483647 w 116"/>
              <a:gd name="T45" fmla="*/ 2147483647 h 82"/>
              <a:gd name="T46" fmla="*/ 2147483647 w 116"/>
              <a:gd name="T47" fmla="*/ 2147483647 h 82"/>
              <a:gd name="T48" fmla="*/ 2147483647 w 116"/>
              <a:gd name="T49" fmla="*/ 2147483647 h 82"/>
              <a:gd name="T50" fmla="*/ 2147483647 w 116"/>
              <a:gd name="T51" fmla="*/ 2147483647 h 82"/>
              <a:gd name="T52" fmla="*/ 2147483647 w 116"/>
              <a:gd name="T53" fmla="*/ 2147483647 h 82"/>
              <a:gd name="T54" fmla="*/ 2147483647 w 116"/>
              <a:gd name="T55" fmla="*/ 2147483647 h 82"/>
              <a:gd name="T56" fmla="*/ 2147483647 w 116"/>
              <a:gd name="T57" fmla="*/ 2147483647 h 82"/>
              <a:gd name="T58" fmla="*/ 2147483647 w 116"/>
              <a:gd name="T59" fmla="*/ 2147483647 h 82"/>
              <a:gd name="T60" fmla="*/ 2147483647 w 116"/>
              <a:gd name="T61" fmla="*/ 2147483647 h 82"/>
              <a:gd name="T62" fmla="*/ 2147483647 w 116"/>
              <a:gd name="T63" fmla="*/ 2147483647 h 82"/>
              <a:gd name="T64" fmla="*/ 2147483647 w 116"/>
              <a:gd name="T65" fmla="*/ 2147483647 h 82"/>
              <a:gd name="T66" fmla="*/ 2147483647 w 116"/>
              <a:gd name="T67" fmla="*/ 2147483647 h 82"/>
              <a:gd name="T68" fmla="*/ 2147483647 w 116"/>
              <a:gd name="T69" fmla="*/ 2147483647 h 82"/>
              <a:gd name="T70" fmla="*/ 2147483647 w 116"/>
              <a:gd name="T71" fmla="*/ 2147483647 h 82"/>
              <a:gd name="T72" fmla="*/ 2147483647 w 116"/>
              <a:gd name="T73" fmla="*/ 2147483647 h 8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16"/>
              <a:gd name="T112" fmla="*/ 0 h 82"/>
              <a:gd name="T113" fmla="*/ 116 w 116"/>
              <a:gd name="T114" fmla="*/ 82 h 8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16" h="82">
                <a:moveTo>
                  <a:pt x="75" y="4"/>
                </a:moveTo>
                <a:lnTo>
                  <a:pt x="64" y="10"/>
                </a:lnTo>
                <a:lnTo>
                  <a:pt x="66" y="13"/>
                </a:lnTo>
                <a:lnTo>
                  <a:pt x="61" y="14"/>
                </a:lnTo>
                <a:lnTo>
                  <a:pt x="58" y="13"/>
                </a:lnTo>
                <a:lnTo>
                  <a:pt x="45" y="20"/>
                </a:lnTo>
                <a:lnTo>
                  <a:pt x="42" y="17"/>
                </a:lnTo>
                <a:lnTo>
                  <a:pt x="34" y="21"/>
                </a:lnTo>
                <a:lnTo>
                  <a:pt x="29" y="17"/>
                </a:lnTo>
                <a:lnTo>
                  <a:pt x="22" y="16"/>
                </a:lnTo>
                <a:lnTo>
                  <a:pt x="20" y="21"/>
                </a:lnTo>
                <a:lnTo>
                  <a:pt x="15" y="16"/>
                </a:lnTo>
                <a:lnTo>
                  <a:pt x="12" y="17"/>
                </a:lnTo>
                <a:lnTo>
                  <a:pt x="9" y="14"/>
                </a:lnTo>
                <a:lnTo>
                  <a:pt x="1" y="17"/>
                </a:lnTo>
                <a:lnTo>
                  <a:pt x="0" y="19"/>
                </a:lnTo>
                <a:lnTo>
                  <a:pt x="1" y="22"/>
                </a:lnTo>
                <a:lnTo>
                  <a:pt x="5" y="24"/>
                </a:lnTo>
                <a:lnTo>
                  <a:pt x="4" y="27"/>
                </a:lnTo>
                <a:lnTo>
                  <a:pt x="5" y="30"/>
                </a:lnTo>
                <a:lnTo>
                  <a:pt x="9" y="27"/>
                </a:lnTo>
                <a:lnTo>
                  <a:pt x="12" y="27"/>
                </a:lnTo>
                <a:lnTo>
                  <a:pt x="13" y="32"/>
                </a:lnTo>
                <a:lnTo>
                  <a:pt x="18" y="30"/>
                </a:lnTo>
                <a:lnTo>
                  <a:pt x="18" y="33"/>
                </a:lnTo>
                <a:lnTo>
                  <a:pt x="19" y="40"/>
                </a:lnTo>
                <a:lnTo>
                  <a:pt x="23" y="41"/>
                </a:lnTo>
                <a:lnTo>
                  <a:pt x="23" y="43"/>
                </a:lnTo>
                <a:lnTo>
                  <a:pt x="20" y="44"/>
                </a:lnTo>
                <a:lnTo>
                  <a:pt x="20" y="48"/>
                </a:lnTo>
                <a:lnTo>
                  <a:pt x="27" y="55"/>
                </a:lnTo>
                <a:lnTo>
                  <a:pt x="36" y="49"/>
                </a:lnTo>
                <a:lnTo>
                  <a:pt x="42" y="52"/>
                </a:lnTo>
                <a:lnTo>
                  <a:pt x="54" y="51"/>
                </a:lnTo>
                <a:lnTo>
                  <a:pt x="64" y="58"/>
                </a:lnTo>
                <a:lnTo>
                  <a:pt x="71" y="69"/>
                </a:lnTo>
                <a:lnTo>
                  <a:pt x="82" y="77"/>
                </a:lnTo>
                <a:lnTo>
                  <a:pt x="86" y="81"/>
                </a:lnTo>
                <a:lnTo>
                  <a:pt x="92" y="79"/>
                </a:lnTo>
                <a:lnTo>
                  <a:pt x="94" y="79"/>
                </a:lnTo>
                <a:lnTo>
                  <a:pt x="96" y="82"/>
                </a:lnTo>
                <a:lnTo>
                  <a:pt x="98" y="82"/>
                </a:lnTo>
                <a:lnTo>
                  <a:pt x="99" y="77"/>
                </a:lnTo>
                <a:lnTo>
                  <a:pt x="101" y="79"/>
                </a:lnTo>
                <a:lnTo>
                  <a:pt x="105" y="82"/>
                </a:lnTo>
                <a:lnTo>
                  <a:pt x="109" y="80"/>
                </a:lnTo>
                <a:lnTo>
                  <a:pt x="113" y="72"/>
                </a:lnTo>
                <a:lnTo>
                  <a:pt x="107" y="63"/>
                </a:lnTo>
                <a:lnTo>
                  <a:pt x="100" y="60"/>
                </a:lnTo>
                <a:lnTo>
                  <a:pt x="100" y="52"/>
                </a:lnTo>
                <a:lnTo>
                  <a:pt x="101" y="50"/>
                </a:lnTo>
                <a:lnTo>
                  <a:pt x="99" y="48"/>
                </a:lnTo>
                <a:lnTo>
                  <a:pt x="104" y="43"/>
                </a:lnTo>
                <a:lnTo>
                  <a:pt x="105" y="37"/>
                </a:lnTo>
                <a:lnTo>
                  <a:pt x="109" y="35"/>
                </a:lnTo>
                <a:lnTo>
                  <a:pt x="106" y="33"/>
                </a:lnTo>
                <a:lnTo>
                  <a:pt x="106" y="29"/>
                </a:lnTo>
                <a:lnTo>
                  <a:pt x="114" y="28"/>
                </a:lnTo>
                <a:lnTo>
                  <a:pt x="116" y="25"/>
                </a:lnTo>
                <a:lnTo>
                  <a:pt x="113" y="17"/>
                </a:lnTo>
                <a:lnTo>
                  <a:pt x="109" y="16"/>
                </a:lnTo>
                <a:lnTo>
                  <a:pt x="107" y="19"/>
                </a:lnTo>
                <a:lnTo>
                  <a:pt x="103" y="19"/>
                </a:lnTo>
                <a:lnTo>
                  <a:pt x="103" y="23"/>
                </a:lnTo>
                <a:lnTo>
                  <a:pt x="96" y="29"/>
                </a:lnTo>
                <a:lnTo>
                  <a:pt x="91" y="30"/>
                </a:lnTo>
                <a:lnTo>
                  <a:pt x="88" y="25"/>
                </a:lnTo>
                <a:lnTo>
                  <a:pt x="81" y="25"/>
                </a:lnTo>
                <a:lnTo>
                  <a:pt x="79" y="20"/>
                </a:lnTo>
                <a:lnTo>
                  <a:pt x="84" y="18"/>
                </a:lnTo>
                <a:lnTo>
                  <a:pt x="82" y="14"/>
                </a:lnTo>
                <a:lnTo>
                  <a:pt x="88" y="3"/>
                </a:lnTo>
                <a:lnTo>
                  <a:pt x="84" y="0"/>
                </a:lnTo>
                <a:lnTo>
                  <a:pt x="75" y="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19" name="Freeform 120"/>
          <p:cNvSpPr>
            <a:spLocks/>
          </p:cNvSpPr>
          <p:nvPr/>
        </p:nvSpPr>
        <p:spPr bwMode="auto">
          <a:xfrm>
            <a:off x="8956232" y="5073649"/>
            <a:ext cx="314325" cy="247650"/>
          </a:xfrm>
          <a:custGeom>
            <a:avLst/>
            <a:gdLst>
              <a:gd name="T0" fmla="*/ 0 w 33"/>
              <a:gd name="T1" fmla="*/ 2147483647 h 26"/>
              <a:gd name="T2" fmla="*/ 2147483647 w 33"/>
              <a:gd name="T3" fmla="*/ 2147483647 h 26"/>
              <a:gd name="T4" fmla="*/ 2147483647 w 33"/>
              <a:gd name="T5" fmla="*/ 2147483647 h 26"/>
              <a:gd name="T6" fmla="*/ 2147483647 w 33"/>
              <a:gd name="T7" fmla="*/ 0 h 26"/>
              <a:gd name="T8" fmla="*/ 2147483647 w 33"/>
              <a:gd name="T9" fmla="*/ 2147483647 h 26"/>
              <a:gd name="T10" fmla="*/ 2147483647 w 33"/>
              <a:gd name="T11" fmla="*/ 2147483647 h 26"/>
              <a:gd name="T12" fmla="*/ 2147483647 w 33"/>
              <a:gd name="T13" fmla="*/ 2147483647 h 26"/>
              <a:gd name="T14" fmla="*/ 2147483647 w 33"/>
              <a:gd name="T15" fmla="*/ 2147483647 h 26"/>
              <a:gd name="T16" fmla="*/ 2147483647 w 33"/>
              <a:gd name="T17" fmla="*/ 2147483647 h 26"/>
              <a:gd name="T18" fmla="*/ 2147483647 w 33"/>
              <a:gd name="T19" fmla="*/ 2147483647 h 26"/>
              <a:gd name="T20" fmla="*/ 2147483647 w 33"/>
              <a:gd name="T21" fmla="*/ 2147483647 h 26"/>
              <a:gd name="T22" fmla="*/ 2147483647 w 33"/>
              <a:gd name="T23" fmla="*/ 2147483647 h 26"/>
              <a:gd name="T24" fmla="*/ 2147483647 w 33"/>
              <a:gd name="T25" fmla="*/ 2147483647 h 26"/>
              <a:gd name="T26" fmla="*/ 2147483647 w 33"/>
              <a:gd name="T27" fmla="*/ 2147483647 h 26"/>
              <a:gd name="T28" fmla="*/ 0 w 33"/>
              <a:gd name="T29" fmla="*/ 2147483647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3"/>
              <a:gd name="T46" fmla="*/ 0 h 26"/>
              <a:gd name="T47" fmla="*/ 33 w 33"/>
              <a:gd name="T48" fmla="*/ 26 h 2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3" h="26">
                <a:moveTo>
                  <a:pt x="0" y="13"/>
                </a:moveTo>
                <a:lnTo>
                  <a:pt x="4" y="5"/>
                </a:lnTo>
                <a:cubicBezTo>
                  <a:pt x="5" y="5"/>
                  <a:pt x="9" y="4"/>
                  <a:pt x="9" y="4"/>
                </a:cubicBezTo>
                <a:lnTo>
                  <a:pt x="9" y="0"/>
                </a:lnTo>
                <a:lnTo>
                  <a:pt x="17" y="1"/>
                </a:lnTo>
                <a:lnTo>
                  <a:pt x="21" y="4"/>
                </a:lnTo>
                <a:lnTo>
                  <a:pt x="27" y="2"/>
                </a:lnTo>
                <a:lnTo>
                  <a:pt x="33" y="1"/>
                </a:lnTo>
                <a:lnTo>
                  <a:pt x="33" y="7"/>
                </a:lnTo>
                <a:lnTo>
                  <a:pt x="29" y="7"/>
                </a:lnTo>
                <a:lnTo>
                  <a:pt x="20" y="17"/>
                </a:lnTo>
                <a:lnTo>
                  <a:pt x="20" y="22"/>
                </a:lnTo>
                <a:lnTo>
                  <a:pt x="10" y="26"/>
                </a:lnTo>
                <a:lnTo>
                  <a:pt x="5" y="24"/>
                </a:lnTo>
                <a:lnTo>
                  <a:pt x="0" y="1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20" name="Freeform 121"/>
          <p:cNvSpPr>
            <a:spLocks/>
          </p:cNvSpPr>
          <p:nvPr/>
        </p:nvSpPr>
        <p:spPr bwMode="auto">
          <a:xfrm>
            <a:off x="8546657" y="3397249"/>
            <a:ext cx="1076325" cy="1914525"/>
          </a:xfrm>
          <a:custGeom>
            <a:avLst/>
            <a:gdLst>
              <a:gd name="T0" fmla="*/ 2147483647 w 113"/>
              <a:gd name="T1" fmla="*/ 2147483647 h 201"/>
              <a:gd name="T2" fmla="*/ 2147483647 w 113"/>
              <a:gd name="T3" fmla="*/ 2147483647 h 201"/>
              <a:gd name="T4" fmla="*/ 2147483647 w 113"/>
              <a:gd name="T5" fmla="*/ 2147483647 h 201"/>
              <a:gd name="T6" fmla="*/ 2147483647 w 113"/>
              <a:gd name="T7" fmla="*/ 2147483647 h 201"/>
              <a:gd name="T8" fmla="*/ 2147483647 w 113"/>
              <a:gd name="T9" fmla="*/ 2147483647 h 201"/>
              <a:gd name="T10" fmla="*/ 2147483647 w 113"/>
              <a:gd name="T11" fmla="*/ 2147483647 h 201"/>
              <a:gd name="T12" fmla="*/ 2147483647 w 113"/>
              <a:gd name="T13" fmla="*/ 2147483647 h 201"/>
              <a:gd name="T14" fmla="*/ 2147483647 w 113"/>
              <a:gd name="T15" fmla="*/ 2147483647 h 201"/>
              <a:gd name="T16" fmla="*/ 2147483647 w 113"/>
              <a:gd name="T17" fmla="*/ 2147483647 h 201"/>
              <a:gd name="T18" fmla="*/ 2147483647 w 113"/>
              <a:gd name="T19" fmla="*/ 2147483647 h 201"/>
              <a:gd name="T20" fmla="*/ 2147483647 w 113"/>
              <a:gd name="T21" fmla="*/ 2147483647 h 201"/>
              <a:gd name="T22" fmla="*/ 2147483647 w 113"/>
              <a:gd name="T23" fmla="*/ 2147483647 h 201"/>
              <a:gd name="T24" fmla="*/ 2147483647 w 113"/>
              <a:gd name="T25" fmla="*/ 2147483647 h 201"/>
              <a:gd name="T26" fmla="*/ 2147483647 w 113"/>
              <a:gd name="T27" fmla="*/ 2147483647 h 201"/>
              <a:gd name="T28" fmla="*/ 2147483647 w 113"/>
              <a:gd name="T29" fmla="*/ 2147483647 h 201"/>
              <a:gd name="T30" fmla="*/ 2147483647 w 113"/>
              <a:gd name="T31" fmla="*/ 2147483647 h 201"/>
              <a:gd name="T32" fmla="*/ 2147483647 w 113"/>
              <a:gd name="T33" fmla="*/ 2147483647 h 201"/>
              <a:gd name="T34" fmla="*/ 2147483647 w 113"/>
              <a:gd name="T35" fmla="*/ 2147483647 h 201"/>
              <a:gd name="T36" fmla="*/ 2147483647 w 113"/>
              <a:gd name="T37" fmla="*/ 2147483647 h 201"/>
              <a:gd name="T38" fmla="*/ 2147483647 w 113"/>
              <a:gd name="T39" fmla="*/ 2147483647 h 201"/>
              <a:gd name="T40" fmla="*/ 2147483647 w 113"/>
              <a:gd name="T41" fmla="*/ 2147483647 h 201"/>
              <a:gd name="T42" fmla="*/ 2147483647 w 113"/>
              <a:gd name="T43" fmla="*/ 2147483647 h 201"/>
              <a:gd name="T44" fmla="*/ 2147483647 w 113"/>
              <a:gd name="T45" fmla="*/ 2147483647 h 201"/>
              <a:gd name="T46" fmla="*/ 2147483647 w 113"/>
              <a:gd name="T47" fmla="*/ 2147483647 h 201"/>
              <a:gd name="T48" fmla="*/ 2147483647 w 113"/>
              <a:gd name="T49" fmla="*/ 2147483647 h 201"/>
              <a:gd name="T50" fmla="*/ 2147483647 w 113"/>
              <a:gd name="T51" fmla="*/ 2147483647 h 201"/>
              <a:gd name="T52" fmla="*/ 2147483647 w 113"/>
              <a:gd name="T53" fmla="*/ 2147483647 h 201"/>
              <a:gd name="T54" fmla="*/ 2147483647 w 113"/>
              <a:gd name="T55" fmla="*/ 2147483647 h 201"/>
              <a:gd name="T56" fmla="*/ 2147483647 w 113"/>
              <a:gd name="T57" fmla="*/ 2147483647 h 201"/>
              <a:gd name="T58" fmla="*/ 2147483647 w 113"/>
              <a:gd name="T59" fmla="*/ 2147483647 h 201"/>
              <a:gd name="T60" fmla="*/ 2147483647 w 113"/>
              <a:gd name="T61" fmla="*/ 2147483647 h 201"/>
              <a:gd name="T62" fmla="*/ 2147483647 w 113"/>
              <a:gd name="T63" fmla="*/ 2147483647 h 201"/>
              <a:gd name="T64" fmla="*/ 2147483647 w 113"/>
              <a:gd name="T65" fmla="*/ 2147483647 h 201"/>
              <a:gd name="T66" fmla="*/ 2147483647 w 113"/>
              <a:gd name="T67" fmla="*/ 2147483647 h 201"/>
              <a:gd name="T68" fmla="*/ 2147483647 w 113"/>
              <a:gd name="T69" fmla="*/ 2147483647 h 201"/>
              <a:gd name="T70" fmla="*/ 2147483647 w 113"/>
              <a:gd name="T71" fmla="*/ 2147483647 h 201"/>
              <a:gd name="T72" fmla="*/ 2147483647 w 113"/>
              <a:gd name="T73" fmla="*/ 2147483647 h 201"/>
              <a:gd name="T74" fmla="*/ 2147483647 w 113"/>
              <a:gd name="T75" fmla="*/ 2147483647 h 201"/>
              <a:gd name="T76" fmla="*/ 2147483647 w 113"/>
              <a:gd name="T77" fmla="*/ 2147483647 h 201"/>
              <a:gd name="T78" fmla="*/ 2147483647 w 113"/>
              <a:gd name="T79" fmla="*/ 2147483647 h 201"/>
              <a:gd name="T80" fmla="*/ 2147483647 w 113"/>
              <a:gd name="T81" fmla="*/ 2147483647 h 201"/>
              <a:gd name="T82" fmla="*/ 2147483647 w 113"/>
              <a:gd name="T83" fmla="*/ 2147483647 h 201"/>
              <a:gd name="T84" fmla="*/ 2147483647 w 113"/>
              <a:gd name="T85" fmla="*/ 2147483647 h 201"/>
              <a:gd name="T86" fmla="*/ 2147483647 w 113"/>
              <a:gd name="T87" fmla="*/ 2147483647 h 201"/>
              <a:gd name="T88" fmla="*/ 2147483647 w 113"/>
              <a:gd name="T89" fmla="*/ 2147483647 h 201"/>
              <a:gd name="T90" fmla="*/ 2147483647 w 113"/>
              <a:gd name="T91" fmla="*/ 2147483647 h 201"/>
              <a:gd name="T92" fmla="*/ 2147483647 w 113"/>
              <a:gd name="T93" fmla="*/ 0 h 201"/>
              <a:gd name="T94" fmla="*/ 2147483647 w 113"/>
              <a:gd name="T95" fmla="*/ 2147483647 h 201"/>
              <a:gd name="T96" fmla="*/ 2147483647 w 113"/>
              <a:gd name="T97" fmla="*/ 2147483647 h 201"/>
              <a:gd name="T98" fmla="*/ 2147483647 w 113"/>
              <a:gd name="T99" fmla="*/ 2147483647 h 201"/>
              <a:gd name="T100" fmla="*/ 2147483647 w 113"/>
              <a:gd name="T101" fmla="*/ 2147483647 h 201"/>
              <a:gd name="T102" fmla="*/ 2147483647 w 113"/>
              <a:gd name="T103" fmla="*/ 2147483647 h 201"/>
              <a:gd name="T104" fmla="*/ 2147483647 w 113"/>
              <a:gd name="T105" fmla="*/ 2147483647 h 201"/>
              <a:gd name="T106" fmla="*/ 2147483647 w 113"/>
              <a:gd name="T107" fmla="*/ 2147483647 h 201"/>
              <a:gd name="T108" fmla="*/ 2147483647 w 113"/>
              <a:gd name="T109" fmla="*/ 2147483647 h 201"/>
              <a:gd name="T110" fmla="*/ 2147483647 w 113"/>
              <a:gd name="T111" fmla="*/ 2147483647 h 201"/>
              <a:gd name="T112" fmla="*/ 0 w 113"/>
              <a:gd name="T113" fmla="*/ 2147483647 h 201"/>
              <a:gd name="T114" fmla="*/ 2147483647 w 113"/>
              <a:gd name="T115" fmla="*/ 2147483647 h 201"/>
              <a:gd name="T116" fmla="*/ 2147483647 w 113"/>
              <a:gd name="T117" fmla="*/ 2147483647 h 201"/>
              <a:gd name="T118" fmla="*/ 2147483647 w 113"/>
              <a:gd name="T119" fmla="*/ 2147483647 h 201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13"/>
              <a:gd name="T181" fmla="*/ 0 h 201"/>
              <a:gd name="T182" fmla="*/ 113 w 113"/>
              <a:gd name="T183" fmla="*/ 201 h 201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13" h="201">
                <a:moveTo>
                  <a:pt x="9" y="113"/>
                </a:moveTo>
                <a:lnTo>
                  <a:pt x="18" y="109"/>
                </a:lnTo>
                <a:lnTo>
                  <a:pt x="22" y="112"/>
                </a:lnTo>
                <a:lnTo>
                  <a:pt x="16" y="123"/>
                </a:lnTo>
                <a:lnTo>
                  <a:pt x="18" y="127"/>
                </a:lnTo>
                <a:lnTo>
                  <a:pt x="13" y="129"/>
                </a:lnTo>
                <a:lnTo>
                  <a:pt x="15" y="134"/>
                </a:lnTo>
                <a:lnTo>
                  <a:pt x="22" y="134"/>
                </a:lnTo>
                <a:lnTo>
                  <a:pt x="25" y="139"/>
                </a:lnTo>
                <a:lnTo>
                  <a:pt x="30" y="138"/>
                </a:lnTo>
                <a:lnTo>
                  <a:pt x="37" y="132"/>
                </a:lnTo>
                <a:lnTo>
                  <a:pt x="37" y="128"/>
                </a:lnTo>
                <a:lnTo>
                  <a:pt x="41" y="128"/>
                </a:lnTo>
                <a:lnTo>
                  <a:pt x="43" y="125"/>
                </a:lnTo>
                <a:lnTo>
                  <a:pt x="47" y="126"/>
                </a:lnTo>
                <a:lnTo>
                  <a:pt x="50" y="134"/>
                </a:lnTo>
                <a:lnTo>
                  <a:pt x="48" y="137"/>
                </a:lnTo>
                <a:lnTo>
                  <a:pt x="40" y="138"/>
                </a:lnTo>
                <a:lnTo>
                  <a:pt x="40" y="142"/>
                </a:lnTo>
                <a:lnTo>
                  <a:pt x="43" y="144"/>
                </a:lnTo>
                <a:lnTo>
                  <a:pt x="39" y="146"/>
                </a:lnTo>
                <a:lnTo>
                  <a:pt x="38" y="152"/>
                </a:lnTo>
                <a:lnTo>
                  <a:pt x="33" y="157"/>
                </a:lnTo>
                <a:lnTo>
                  <a:pt x="35" y="159"/>
                </a:lnTo>
                <a:lnTo>
                  <a:pt x="34" y="161"/>
                </a:lnTo>
                <a:lnTo>
                  <a:pt x="34" y="169"/>
                </a:lnTo>
                <a:lnTo>
                  <a:pt x="41" y="172"/>
                </a:lnTo>
                <a:lnTo>
                  <a:pt x="47" y="181"/>
                </a:lnTo>
                <a:cubicBezTo>
                  <a:pt x="48" y="181"/>
                  <a:pt x="52" y="180"/>
                  <a:pt x="52" y="180"/>
                </a:cubicBezTo>
                <a:lnTo>
                  <a:pt x="52" y="176"/>
                </a:lnTo>
                <a:lnTo>
                  <a:pt x="60" y="177"/>
                </a:lnTo>
                <a:lnTo>
                  <a:pt x="64" y="180"/>
                </a:lnTo>
                <a:lnTo>
                  <a:pt x="70" y="178"/>
                </a:lnTo>
                <a:lnTo>
                  <a:pt x="76" y="177"/>
                </a:lnTo>
                <a:lnTo>
                  <a:pt x="76" y="183"/>
                </a:lnTo>
                <a:lnTo>
                  <a:pt x="79" y="189"/>
                </a:lnTo>
                <a:lnTo>
                  <a:pt x="78" y="193"/>
                </a:lnTo>
                <a:lnTo>
                  <a:pt x="79" y="201"/>
                </a:lnTo>
                <a:lnTo>
                  <a:pt x="85" y="200"/>
                </a:lnTo>
                <a:lnTo>
                  <a:pt x="84" y="196"/>
                </a:lnTo>
                <a:lnTo>
                  <a:pt x="86" y="191"/>
                </a:lnTo>
                <a:lnTo>
                  <a:pt x="91" y="193"/>
                </a:lnTo>
                <a:lnTo>
                  <a:pt x="101" y="189"/>
                </a:lnTo>
                <a:lnTo>
                  <a:pt x="99" y="182"/>
                </a:lnTo>
                <a:lnTo>
                  <a:pt x="104" y="182"/>
                </a:lnTo>
                <a:lnTo>
                  <a:pt x="105" y="175"/>
                </a:lnTo>
                <a:lnTo>
                  <a:pt x="100" y="174"/>
                </a:lnTo>
                <a:lnTo>
                  <a:pt x="96" y="170"/>
                </a:lnTo>
                <a:lnTo>
                  <a:pt x="101" y="165"/>
                </a:lnTo>
                <a:lnTo>
                  <a:pt x="106" y="168"/>
                </a:lnTo>
                <a:lnTo>
                  <a:pt x="107" y="173"/>
                </a:lnTo>
                <a:lnTo>
                  <a:pt x="111" y="172"/>
                </a:lnTo>
                <a:lnTo>
                  <a:pt x="111" y="163"/>
                </a:lnTo>
                <a:lnTo>
                  <a:pt x="113" y="155"/>
                </a:lnTo>
                <a:lnTo>
                  <a:pt x="109" y="147"/>
                </a:lnTo>
                <a:lnTo>
                  <a:pt x="103" y="134"/>
                </a:lnTo>
                <a:lnTo>
                  <a:pt x="98" y="130"/>
                </a:lnTo>
                <a:lnTo>
                  <a:pt x="97" y="120"/>
                </a:lnTo>
                <a:lnTo>
                  <a:pt x="96" y="115"/>
                </a:lnTo>
                <a:lnTo>
                  <a:pt x="93" y="111"/>
                </a:lnTo>
                <a:lnTo>
                  <a:pt x="86" y="107"/>
                </a:lnTo>
                <a:lnTo>
                  <a:pt x="88" y="105"/>
                </a:lnTo>
                <a:lnTo>
                  <a:pt x="87" y="101"/>
                </a:lnTo>
                <a:lnTo>
                  <a:pt x="78" y="101"/>
                </a:lnTo>
                <a:lnTo>
                  <a:pt x="71" y="98"/>
                </a:lnTo>
                <a:lnTo>
                  <a:pt x="65" y="102"/>
                </a:lnTo>
                <a:lnTo>
                  <a:pt x="62" y="113"/>
                </a:lnTo>
                <a:lnTo>
                  <a:pt x="60" y="113"/>
                </a:lnTo>
                <a:lnTo>
                  <a:pt x="58" y="110"/>
                </a:lnTo>
                <a:lnTo>
                  <a:pt x="57" y="115"/>
                </a:lnTo>
                <a:lnTo>
                  <a:pt x="54" y="115"/>
                </a:lnTo>
                <a:lnTo>
                  <a:pt x="51" y="105"/>
                </a:lnTo>
                <a:lnTo>
                  <a:pt x="46" y="109"/>
                </a:lnTo>
                <a:lnTo>
                  <a:pt x="40" y="110"/>
                </a:lnTo>
                <a:lnTo>
                  <a:pt x="43" y="97"/>
                </a:lnTo>
                <a:lnTo>
                  <a:pt x="46" y="88"/>
                </a:lnTo>
                <a:lnTo>
                  <a:pt x="47" y="75"/>
                </a:lnTo>
                <a:lnTo>
                  <a:pt x="51" y="59"/>
                </a:lnTo>
                <a:lnTo>
                  <a:pt x="49" y="51"/>
                </a:lnTo>
                <a:lnTo>
                  <a:pt x="53" y="46"/>
                </a:lnTo>
                <a:lnTo>
                  <a:pt x="51" y="39"/>
                </a:lnTo>
                <a:lnTo>
                  <a:pt x="57" y="31"/>
                </a:lnTo>
                <a:lnTo>
                  <a:pt x="66" y="24"/>
                </a:lnTo>
                <a:lnTo>
                  <a:pt x="71" y="27"/>
                </a:lnTo>
                <a:lnTo>
                  <a:pt x="72" y="24"/>
                </a:lnTo>
                <a:lnTo>
                  <a:pt x="68" y="20"/>
                </a:lnTo>
                <a:lnTo>
                  <a:pt x="72" y="19"/>
                </a:lnTo>
                <a:lnTo>
                  <a:pt x="69" y="15"/>
                </a:lnTo>
                <a:lnTo>
                  <a:pt x="63" y="15"/>
                </a:lnTo>
                <a:lnTo>
                  <a:pt x="59" y="17"/>
                </a:lnTo>
                <a:lnTo>
                  <a:pt x="57" y="13"/>
                </a:lnTo>
                <a:lnTo>
                  <a:pt x="60" y="8"/>
                </a:lnTo>
                <a:lnTo>
                  <a:pt x="58" y="3"/>
                </a:lnTo>
                <a:lnTo>
                  <a:pt x="50" y="0"/>
                </a:lnTo>
                <a:lnTo>
                  <a:pt x="43" y="2"/>
                </a:lnTo>
                <a:lnTo>
                  <a:pt x="41" y="7"/>
                </a:lnTo>
                <a:lnTo>
                  <a:pt x="36" y="7"/>
                </a:lnTo>
                <a:lnTo>
                  <a:pt x="34" y="11"/>
                </a:lnTo>
                <a:lnTo>
                  <a:pt x="25" y="12"/>
                </a:lnTo>
                <a:lnTo>
                  <a:pt x="19" y="11"/>
                </a:lnTo>
                <a:lnTo>
                  <a:pt x="18" y="18"/>
                </a:lnTo>
                <a:lnTo>
                  <a:pt x="22" y="24"/>
                </a:lnTo>
                <a:lnTo>
                  <a:pt x="19" y="29"/>
                </a:lnTo>
                <a:lnTo>
                  <a:pt x="19" y="36"/>
                </a:lnTo>
                <a:lnTo>
                  <a:pt x="24" y="38"/>
                </a:lnTo>
                <a:lnTo>
                  <a:pt x="28" y="47"/>
                </a:lnTo>
                <a:lnTo>
                  <a:pt x="23" y="49"/>
                </a:lnTo>
                <a:lnTo>
                  <a:pt x="23" y="54"/>
                </a:lnTo>
                <a:lnTo>
                  <a:pt x="19" y="58"/>
                </a:lnTo>
                <a:lnTo>
                  <a:pt x="15" y="58"/>
                </a:lnTo>
                <a:lnTo>
                  <a:pt x="15" y="63"/>
                </a:lnTo>
                <a:lnTo>
                  <a:pt x="1" y="67"/>
                </a:lnTo>
                <a:lnTo>
                  <a:pt x="2" y="83"/>
                </a:lnTo>
                <a:lnTo>
                  <a:pt x="0" y="85"/>
                </a:lnTo>
                <a:lnTo>
                  <a:pt x="4" y="89"/>
                </a:lnTo>
                <a:lnTo>
                  <a:pt x="3" y="97"/>
                </a:lnTo>
                <a:lnTo>
                  <a:pt x="8" y="99"/>
                </a:lnTo>
                <a:lnTo>
                  <a:pt x="9" y="103"/>
                </a:lnTo>
                <a:lnTo>
                  <a:pt x="5" y="106"/>
                </a:lnTo>
                <a:lnTo>
                  <a:pt x="9" y="113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21" name="Freeform 122"/>
          <p:cNvSpPr>
            <a:spLocks/>
          </p:cNvSpPr>
          <p:nvPr/>
        </p:nvSpPr>
        <p:spPr bwMode="auto">
          <a:xfrm>
            <a:off x="9184832" y="4968874"/>
            <a:ext cx="438150" cy="809625"/>
          </a:xfrm>
          <a:custGeom>
            <a:avLst/>
            <a:gdLst>
              <a:gd name="T0" fmla="*/ 2147483647 w 46"/>
              <a:gd name="T1" fmla="*/ 2147483647 h 85"/>
              <a:gd name="T2" fmla="*/ 2147483647 w 46"/>
              <a:gd name="T3" fmla="*/ 2147483647 h 85"/>
              <a:gd name="T4" fmla="*/ 2147483647 w 46"/>
              <a:gd name="T5" fmla="*/ 2147483647 h 85"/>
              <a:gd name="T6" fmla="*/ 2147483647 w 46"/>
              <a:gd name="T7" fmla="*/ 0 h 85"/>
              <a:gd name="T8" fmla="*/ 2147483647 w 46"/>
              <a:gd name="T9" fmla="*/ 2147483647 h 85"/>
              <a:gd name="T10" fmla="*/ 2147483647 w 46"/>
              <a:gd name="T11" fmla="*/ 2147483647 h 85"/>
              <a:gd name="T12" fmla="*/ 2147483647 w 46"/>
              <a:gd name="T13" fmla="*/ 2147483647 h 85"/>
              <a:gd name="T14" fmla="*/ 2147483647 w 46"/>
              <a:gd name="T15" fmla="*/ 2147483647 h 85"/>
              <a:gd name="T16" fmla="*/ 2147483647 w 46"/>
              <a:gd name="T17" fmla="*/ 2147483647 h 85"/>
              <a:gd name="T18" fmla="*/ 2147483647 w 46"/>
              <a:gd name="T19" fmla="*/ 2147483647 h 85"/>
              <a:gd name="T20" fmla="*/ 2147483647 w 46"/>
              <a:gd name="T21" fmla="*/ 2147483647 h 85"/>
              <a:gd name="T22" fmla="*/ 2147483647 w 46"/>
              <a:gd name="T23" fmla="*/ 2147483647 h 85"/>
              <a:gd name="T24" fmla="*/ 2147483647 w 46"/>
              <a:gd name="T25" fmla="*/ 2147483647 h 85"/>
              <a:gd name="T26" fmla="*/ 2147483647 w 46"/>
              <a:gd name="T27" fmla="*/ 2147483647 h 85"/>
              <a:gd name="T28" fmla="*/ 2147483647 w 46"/>
              <a:gd name="T29" fmla="*/ 2147483647 h 85"/>
              <a:gd name="T30" fmla="*/ 2147483647 w 46"/>
              <a:gd name="T31" fmla="*/ 2147483647 h 85"/>
              <a:gd name="T32" fmla="*/ 2147483647 w 46"/>
              <a:gd name="T33" fmla="*/ 2147483647 h 85"/>
              <a:gd name="T34" fmla="*/ 2147483647 w 46"/>
              <a:gd name="T35" fmla="*/ 2147483647 h 85"/>
              <a:gd name="T36" fmla="*/ 0 w 46"/>
              <a:gd name="T37" fmla="*/ 2147483647 h 85"/>
              <a:gd name="T38" fmla="*/ 2147483647 w 46"/>
              <a:gd name="T39" fmla="*/ 2147483647 h 85"/>
              <a:gd name="T40" fmla="*/ 2147483647 w 46"/>
              <a:gd name="T41" fmla="*/ 2147483647 h 85"/>
              <a:gd name="T42" fmla="*/ 2147483647 w 46"/>
              <a:gd name="T43" fmla="*/ 2147483647 h 85"/>
              <a:gd name="T44" fmla="*/ 2147483647 w 46"/>
              <a:gd name="T45" fmla="*/ 2147483647 h 85"/>
              <a:gd name="T46" fmla="*/ 2147483647 w 46"/>
              <a:gd name="T47" fmla="*/ 2147483647 h 85"/>
              <a:gd name="T48" fmla="*/ 2147483647 w 46"/>
              <a:gd name="T49" fmla="*/ 2147483647 h 85"/>
              <a:gd name="T50" fmla="*/ 2147483647 w 46"/>
              <a:gd name="T51" fmla="*/ 2147483647 h 85"/>
              <a:gd name="T52" fmla="*/ 2147483647 w 46"/>
              <a:gd name="T53" fmla="*/ 2147483647 h 85"/>
              <a:gd name="T54" fmla="*/ 2147483647 w 46"/>
              <a:gd name="T55" fmla="*/ 2147483647 h 85"/>
              <a:gd name="T56" fmla="*/ 2147483647 w 46"/>
              <a:gd name="T57" fmla="*/ 2147483647 h 85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46"/>
              <a:gd name="T88" fmla="*/ 0 h 85"/>
              <a:gd name="T89" fmla="*/ 46 w 46"/>
              <a:gd name="T90" fmla="*/ 85 h 85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46" h="85">
                <a:moveTo>
                  <a:pt x="44" y="7"/>
                </a:moveTo>
                <a:lnTo>
                  <a:pt x="40" y="8"/>
                </a:lnTo>
                <a:lnTo>
                  <a:pt x="39" y="3"/>
                </a:lnTo>
                <a:lnTo>
                  <a:pt x="34" y="0"/>
                </a:lnTo>
                <a:lnTo>
                  <a:pt x="29" y="5"/>
                </a:lnTo>
                <a:lnTo>
                  <a:pt x="33" y="9"/>
                </a:lnTo>
                <a:lnTo>
                  <a:pt x="38" y="10"/>
                </a:lnTo>
                <a:lnTo>
                  <a:pt x="37" y="17"/>
                </a:lnTo>
                <a:lnTo>
                  <a:pt x="32" y="17"/>
                </a:lnTo>
                <a:lnTo>
                  <a:pt x="34" y="24"/>
                </a:lnTo>
                <a:lnTo>
                  <a:pt x="24" y="28"/>
                </a:lnTo>
                <a:lnTo>
                  <a:pt x="19" y="26"/>
                </a:lnTo>
                <a:lnTo>
                  <a:pt x="17" y="31"/>
                </a:lnTo>
                <a:lnTo>
                  <a:pt x="18" y="35"/>
                </a:lnTo>
                <a:lnTo>
                  <a:pt x="12" y="36"/>
                </a:lnTo>
                <a:lnTo>
                  <a:pt x="13" y="53"/>
                </a:lnTo>
                <a:lnTo>
                  <a:pt x="16" y="58"/>
                </a:lnTo>
                <a:lnTo>
                  <a:pt x="4" y="59"/>
                </a:lnTo>
                <a:lnTo>
                  <a:pt x="0" y="68"/>
                </a:lnTo>
                <a:lnTo>
                  <a:pt x="11" y="79"/>
                </a:lnTo>
                <a:lnTo>
                  <a:pt x="11" y="85"/>
                </a:lnTo>
                <a:lnTo>
                  <a:pt x="17" y="78"/>
                </a:lnTo>
                <a:lnTo>
                  <a:pt x="28" y="78"/>
                </a:lnTo>
                <a:lnTo>
                  <a:pt x="35" y="73"/>
                </a:lnTo>
                <a:lnTo>
                  <a:pt x="41" y="63"/>
                </a:lnTo>
                <a:lnTo>
                  <a:pt x="42" y="41"/>
                </a:lnTo>
                <a:lnTo>
                  <a:pt x="44" y="30"/>
                </a:lnTo>
                <a:lnTo>
                  <a:pt x="46" y="24"/>
                </a:lnTo>
                <a:lnTo>
                  <a:pt x="44" y="7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22" name="Freeform 123"/>
          <p:cNvSpPr>
            <a:spLocks/>
          </p:cNvSpPr>
          <p:nvPr/>
        </p:nvSpPr>
        <p:spPr bwMode="auto">
          <a:xfrm>
            <a:off x="8860982" y="2520949"/>
            <a:ext cx="838200" cy="1057275"/>
          </a:xfrm>
          <a:custGeom>
            <a:avLst/>
            <a:gdLst>
              <a:gd name="T0" fmla="*/ 2147483647 w 88"/>
              <a:gd name="T1" fmla="*/ 2147483647 h 111"/>
              <a:gd name="T2" fmla="*/ 2147483647 w 88"/>
              <a:gd name="T3" fmla="*/ 2147483647 h 111"/>
              <a:gd name="T4" fmla="*/ 2147483647 w 88"/>
              <a:gd name="T5" fmla="*/ 2147483647 h 111"/>
              <a:gd name="T6" fmla="*/ 2147483647 w 88"/>
              <a:gd name="T7" fmla="*/ 2147483647 h 111"/>
              <a:gd name="T8" fmla="*/ 2147483647 w 88"/>
              <a:gd name="T9" fmla="*/ 2147483647 h 111"/>
              <a:gd name="T10" fmla="*/ 2147483647 w 88"/>
              <a:gd name="T11" fmla="*/ 2147483647 h 111"/>
              <a:gd name="T12" fmla="*/ 2147483647 w 88"/>
              <a:gd name="T13" fmla="*/ 2147483647 h 111"/>
              <a:gd name="T14" fmla="*/ 2147483647 w 88"/>
              <a:gd name="T15" fmla="*/ 2147483647 h 111"/>
              <a:gd name="T16" fmla="*/ 0 w 88"/>
              <a:gd name="T17" fmla="*/ 2147483647 h 111"/>
              <a:gd name="T18" fmla="*/ 2147483647 w 88"/>
              <a:gd name="T19" fmla="*/ 2147483647 h 111"/>
              <a:gd name="T20" fmla="*/ 2147483647 w 88"/>
              <a:gd name="T21" fmla="*/ 2147483647 h 111"/>
              <a:gd name="T22" fmla="*/ 2147483647 w 88"/>
              <a:gd name="T23" fmla="*/ 2147483647 h 111"/>
              <a:gd name="T24" fmla="*/ 2147483647 w 88"/>
              <a:gd name="T25" fmla="*/ 2147483647 h 111"/>
              <a:gd name="T26" fmla="*/ 2147483647 w 88"/>
              <a:gd name="T27" fmla="*/ 2147483647 h 111"/>
              <a:gd name="T28" fmla="*/ 2147483647 w 88"/>
              <a:gd name="T29" fmla="*/ 2147483647 h 111"/>
              <a:gd name="T30" fmla="*/ 2147483647 w 88"/>
              <a:gd name="T31" fmla="*/ 2147483647 h 111"/>
              <a:gd name="T32" fmla="*/ 2147483647 w 88"/>
              <a:gd name="T33" fmla="*/ 2147483647 h 111"/>
              <a:gd name="T34" fmla="*/ 2147483647 w 88"/>
              <a:gd name="T35" fmla="*/ 2147483647 h 111"/>
              <a:gd name="T36" fmla="*/ 2147483647 w 88"/>
              <a:gd name="T37" fmla="*/ 2147483647 h 111"/>
              <a:gd name="T38" fmla="*/ 2147483647 w 88"/>
              <a:gd name="T39" fmla="*/ 2147483647 h 111"/>
              <a:gd name="T40" fmla="*/ 2147483647 w 88"/>
              <a:gd name="T41" fmla="*/ 2147483647 h 111"/>
              <a:gd name="T42" fmla="*/ 2147483647 w 88"/>
              <a:gd name="T43" fmla="*/ 2147483647 h 111"/>
              <a:gd name="T44" fmla="*/ 2147483647 w 88"/>
              <a:gd name="T45" fmla="*/ 2147483647 h 111"/>
              <a:gd name="T46" fmla="*/ 2147483647 w 88"/>
              <a:gd name="T47" fmla="*/ 2147483647 h 111"/>
              <a:gd name="T48" fmla="*/ 2147483647 w 88"/>
              <a:gd name="T49" fmla="*/ 2147483647 h 111"/>
              <a:gd name="T50" fmla="*/ 2147483647 w 88"/>
              <a:gd name="T51" fmla="*/ 2147483647 h 111"/>
              <a:gd name="T52" fmla="*/ 2147483647 w 88"/>
              <a:gd name="T53" fmla="*/ 2147483647 h 111"/>
              <a:gd name="T54" fmla="*/ 2147483647 w 88"/>
              <a:gd name="T55" fmla="*/ 2147483647 h 111"/>
              <a:gd name="T56" fmla="*/ 2147483647 w 88"/>
              <a:gd name="T57" fmla="*/ 2147483647 h 111"/>
              <a:gd name="T58" fmla="*/ 2147483647 w 88"/>
              <a:gd name="T59" fmla="*/ 2147483647 h 111"/>
              <a:gd name="T60" fmla="*/ 2147483647 w 88"/>
              <a:gd name="T61" fmla="*/ 2147483647 h 111"/>
              <a:gd name="T62" fmla="*/ 2147483647 w 88"/>
              <a:gd name="T63" fmla="*/ 2147483647 h 111"/>
              <a:gd name="T64" fmla="*/ 2147483647 w 88"/>
              <a:gd name="T65" fmla="*/ 0 h 111"/>
              <a:gd name="T66" fmla="*/ 2147483647 w 88"/>
              <a:gd name="T67" fmla="*/ 2147483647 h 111"/>
              <a:gd name="T68" fmla="*/ 2147483647 w 88"/>
              <a:gd name="T69" fmla="*/ 2147483647 h 111"/>
              <a:gd name="T70" fmla="*/ 2147483647 w 88"/>
              <a:gd name="T71" fmla="*/ 2147483647 h 111"/>
              <a:gd name="T72" fmla="*/ 2147483647 w 88"/>
              <a:gd name="T73" fmla="*/ 2147483647 h 111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88"/>
              <a:gd name="T112" fmla="*/ 0 h 111"/>
              <a:gd name="T113" fmla="*/ 88 w 88"/>
              <a:gd name="T114" fmla="*/ 111 h 111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88" h="111">
                <a:moveTo>
                  <a:pt x="28" y="5"/>
                </a:moveTo>
                <a:lnTo>
                  <a:pt x="30" y="9"/>
                </a:lnTo>
                <a:lnTo>
                  <a:pt x="26" y="15"/>
                </a:lnTo>
                <a:lnTo>
                  <a:pt x="23" y="15"/>
                </a:lnTo>
                <a:lnTo>
                  <a:pt x="15" y="22"/>
                </a:lnTo>
                <a:lnTo>
                  <a:pt x="19" y="26"/>
                </a:lnTo>
                <a:lnTo>
                  <a:pt x="15" y="29"/>
                </a:lnTo>
                <a:lnTo>
                  <a:pt x="19" y="33"/>
                </a:lnTo>
                <a:lnTo>
                  <a:pt x="19" y="38"/>
                </a:lnTo>
                <a:lnTo>
                  <a:pt x="22" y="41"/>
                </a:lnTo>
                <a:lnTo>
                  <a:pt x="23" y="46"/>
                </a:lnTo>
                <a:lnTo>
                  <a:pt x="17" y="53"/>
                </a:lnTo>
                <a:lnTo>
                  <a:pt x="12" y="53"/>
                </a:lnTo>
                <a:lnTo>
                  <a:pt x="6" y="56"/>
                </a:lnTo>
                <a:lnTo>
                  <a:pt x="6" y="60"/>
                </a:lnTo>
                <a:lnTo>
                  <a:pt x="8" y="63"/>
                </a:lnTo>
                <a:lnTo>
                  <a:pt x="0" y="68"/>
                </a:lnTo>
                <a:lnTo>
                  <a:pt x="0" y="74"/>
                </a:lnTo>
                <a:lnTo>
                  <a:pt x="5" y="85"/>
                </a:lnTo>
                <a:lnTo>
                  <a:pt x="10" y="94"/>
                </a:lnTo>
                <a:lnTo>
                  <a:pt x="17" y="92"/>
                </a:lnTo>
                <a:lnTo>
                  <a:pt x="25" y="95"/>
                </a:lnTo>
                <a:lnTo>
                  <a:pt x="27" y="100"/>
                </a:lnTo>
                <a:lnTo>
                  <a:pt x="24" y="105"/>
                </a:lnTo>
                <a:lnTo>
                  <a:pt x="26" y="109"/>
                </a:lnTo>
                <a:lnTo>
                  <a:pt x="30" y="107"/>
                </a:lnTo>
                <a:lnTo>
                  <a:pt x="36" y="107"/>
                </a:lnTo>
                <a:lnTo>
                  <a:pt x="39" y="111"/>
                </a:lnTo>
                <a:lnTo>
                  <a:pt x="46" y="110"/>
                </a:lnTo>
                <a:lnTo>
                  <a:pt x="46" y="106"/>
                </a:lnTo>
                <a:lnTo>
                  <a:pt x="51" y="107"/>
                </a:lnTo>
                <a:lnTo>
                  <a:pt x="48" y="98"/>
                </a:lnTo>
                <a:lnTo>
                  <a:pt x="56" y="97"/>
                </a:lnTo>
                <a:lnTo>
                  <a:pt x="59" y="90"/>
                </a:lnTo>
                <a:lnTo>
                  <a:pt x="66" y="91"/>
                </a:lnTo>
                <a:lnTo>
                  <a:pt x="61" y="96"/>
                </a:lnTo>
                <a:lnTo>
                  <a:pt x="65" y="100"/>
                </a:lnTo>
                <a:lnTo>
                  <a:pt x="71" y="91"/>
                </a:lnTo>
                <a:lnTo>
                  <a:pt x="70" y="86"/>
                </a:lnTo>
                <a:lnTo>
                  <a:pt x="76" y="86"/>
                </a:lnTo>
                <a:lnTo>
                  <a:pt x="78" y="81"/>
                </a:lnTo>
                <a:lnTo>
                  <a:pt x="78" y="77"/>
                </a:lnTo>
                <a:lnTo>
                  <a:pt x="74" y="77"/>
                </a:lnTo>
                <a:lnTo>
                  <a:pt x="72" y="81"/>
                </a:lnTo>
                <a:lnTo>
                  <a:pt x="68" y="77"/>
                </a:lnTo>
                <a:lnTo>
                  <a:pt x="69" y="62"/>
                </a:lnTo>
                <a:lnTo>
                  <a:pt x="65" y="55"/>
                </a:lnTo>
                <a:lnTo>
                  <a:pt x="65" y="46"/>
                </a:lnTo>
                <a:lnTo>
                  <a:pt x="70" y="38"/>
                </a:lnTo>
                <a:lnTo>
                  <a:pt x="75" y="38"/>
                </a:lnTo>
                <a:lnTo>
                  <a:pt x="75" y="32"/>
                </a:lnTo>
                <a:lnTo>
                  <a:pt x="81" y="41"/>
                </a:lnTo>
                <a:lnTo>
                  <a:pt x="84" y="42"/>
                </a:lnTo>
                <a:lnTo>
                  <a:pt x="87" y="42"/>
                </a:lnTo>
                <a:lnTo>
                  <a:pt x="88" y="40"/>
                </a:lnTo>
                <a:lnTo>
                  <a:pt x="86" y="26"/>
                </a:lnTo>
                <a:lnTo>
                  <a:pt x="82" y="24"/>
                </a:lnTo>
                <a:lnTo>
                  <a:pt x="80" y="22"/>
                </a:lnTo>
                <a:lnTo>
                  <a:pt x="79" y="18"/>
                </a:lnTo>
                <a:lnTo>
                  <a:pt x="76" y="15"/>
                </a:lnTo>
                <a:lnTo>
                  <a:pt x="73" y="16"/>
                </a:lnTo>
                <a:lnTo>
                  <a:pt x="70" y="12"/>
                </a:lnTo>
                <a:lnTo>
                  <a:pt x="70" y="9"/>
                </a:lnTo>
                <a:lnTo>
                  <a:pt x="65" y="9"/>
                </a:lnTo>
                <a:lnTo>
                  <a:pt x="61" y="4"/>
                </a:lnTo>
                <a:lnTo>
                  <a:pt x="58" y="0"/>
                </a:lnTo>
                <a:lnTo>
                  <a:pt x="56" y="3"/>
                </a:lnTo>
                <a:lnTo>
                  <a:pt x="53" y="6"/>
                </a:lnTo>
                <a:lnTo>
                  <a:pt x="48" y="5"/>
                </a:lnTo>
                <a:lnTo>
                  <a:pt x="45" y="8"/>
                </a:lnTo>
                <a:lnTo>
                  <a:pt x="39" y="6"/>
                </a:lnTo>
                <a:lnTo>
                  <a:pt x="35" y="9"/>
                </a:lnTo>
                <a:lnTo>
                  <a:pt x="33" y="9"/>
                </a:lnTo>
                <a:lnTo>
                  <a:pt x="30" y="5"/>
                </a:lnTo>
                <a:lnTo>
                  <a:pt x="28" y="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23" name="Freeform 124"/>
          <p:cNvSpPr>
            <a:spLocks/>
          </p:cNvSpPr>
          <p:nvPr/>
        </p:nvSpPr>
        <p:spPr bwMode="auto">
          <a:xfrm>
            <a:off x="8927657" y="1254124"/>
            <a:ext cx="1143000" cy="1352550"/>
          </a:xfrm>
          <a:custGeom>
            <a:avLst/>
            <a:gdLst>
              <a:gd name="T0" fmla="*/ 2147483647 w 120"/>
              <a:gd name="T1" fmla="*/ 2147483647 h 142"/>
              <a:gd name="T2" fmla="*/ 2147483647 w 120"/>
              <a:gd name="T3" fmla="*/ 2147483647 h 142"/>
              <a:gd name="T4" fmla="*/ 2147483647 w 120"/>
              <a:gd name="T5" fmla="*/ 2147483647 h 142"/>
              <a:gd name="T6" fmla="*/ 2147483647 w 120"/>
              <a:gd name="T7" fmla="*/ 2147483647 h 142"/>
              <a:gd name="T8" fmla="*/ 2147483647 w 120"/>
              <a:gd name="T9" fmla="*/ 2147483647 h 142"/>
              <a:gd name="T10" fmla="*/ 2147483647 w 120"/>
              <a:gd name="T11" fmla="*/ 2147483647 h 142"/>
              <a:gd name="T12" fmla="*/ 2147483647 w 120"/>
              <a:gd name="T13" fmla="*/ 2147483647 h 142"/>
              <a:gd name="T14" fmla="*/ 2147483647 w 120"/>
              <a:gd name="T15" fmla="*/ 2147483647 h 142"/>
              <a:gd name="T16" fmla="*/ 2147483647 w 120"/>
              <a:gd name="T17" fmla="*/ 2147483647 h 142"/>
              <a:gd name="T18" fmla="*/ 2147483647 w 120"/>
              <a:gd name="T19" fmla="*/ 2147483647 h 142"/>
              <a:gd name="T20" fmla="*/ 2147483647 w 120"/>
              <a:gd name="T21" fmla="*/ 2147483647 h 142"/>
              <a:gd name="T22" fmla="*/ 2147483647 w 120"/>
              <a:gd name="T23" fmla="*/ 2147483647 h 142"/>
              <a:gd name="T24" fmla="*/ 2147483647 w 120"/>
              <a:gd name="T25" fmla="*/ 2147483647 h 142"/>
              <a:gd name="T26" fmla="*/ 2147483647 w 120"/>
              <a:gd name="T27" fmla="*/ 2147483647 h 142"/>
              <a:gd name="T28" fmla="*/ 2147483647 w 120"/>
              <a:gd name="T29" fmla="*/ 2147483647 h 142"/>
              <a:gd name="T30" fmla="*/ 2147483647 w 120"/>
              <a:gd name="T31" fmla="*/ 2147483647 h 142"/>
              <a:gd name="T32" fmla="*/ 2147483647 w 120"/>
              <a:gd name="T33" fmla="*/ 2147483647 h 142"/>
              <a:gd name="T34" fmla="*/ 2147483647 w 120"/>
              <a:gd name="T35" fmla="*/ 2147483647 h 142"/>
              <a:gd name="T36" fmla="*/ 2147483647 w 120"/>
              <a:gd name="T37" fmla="*/ 2147483647 h 142"/>
              <a:gd name="T38" fmla="*/ 2147483647 w 120"/>
              <a:gd name="T39" fmla="*/ 2147483647 h 142"/>
              <a:gd name="T40" fmla="*/ 2147483647 w 120"/>
              <a:gd name="T41" fmla="*/ 2147483647 h 142"/>
              <a:gd name="T42" fmla="*/ 2147483647 w 120"/>
              <a:gd name="T43" fmla="*/ 2147483647 h 142"/>
              <a:gd name="T44" fmla="*/ 2147483647 w 120"/>
              <a:gd name="T45" fmla="*/ 2147483647 h 142"/>
              <a:gd name="T46" fmla="*/ 2147483647 w 120"/>
              <a:gd name="T47" fmla="*/ 2147483647 h 142"/>
              <a:gd name="T48" fmla="*/ 2147483647 w 120"/>
              <a:gd name="T49" fmla="*/ 2147483647 h 142"/>
              <a:gd name="T50" fmla="*/ 2147483647 w 120"/>
              <a:gd name="T51" fmla="*/ 2147483647 h 142"/>
              <a:gd name="T52" fmla="*/ 2147483647 w 120"/>
              <a:gd name="T53" fmla="*/ 2147483647 h 142"/>
              <a:gd name="T54" fmla="*/ 2147483647 w 120"/>
              <a:gd name="T55" fmla="*/ 2147483647 h 142"/>
              <a:gd name="T56" fmla="*/ 2147483647 w 120"/>
              <a:gd name="T57" fmla="*/ 2147483647 h 142"/>
              <a:gd name="T58" fmla="*/ 2147483647 w 120"/>
              <a:gd name="T59" fmla="*/ 2147483647 h 142"/>
              <a:gd name="T60" fmla="*/ 2147483647 w 120"/>
              <a:gd name="T61" fmla="*/ 2147483647 h 142"/>
              <a:gd name="T62" fmla="*/ 2147483647 w 120"/>
              <a:gd name="T63" fmla="*/ 2147483647 h 142"/>
              <a:gd name="T64" fmla="*/ 2147483647 w 120"/>
              <a:gd name="T65" fmla="*/ 2147483647 h 142"/>
              <a:gd name="T66" fmla="*/ 2147483647 w 120"/>
              <a:gd name="T67" fmla="*/ 2147483647 h 142"/>
              <a:gd name="T68" fmla="*/ 2147483647 w 120"/>
              <a:gd name="T69" fmla="*/ 2147483647 h 142"/>
              <a:gd name="T70" fmla="*/ 2147483647 w 120"/>
              <a:gd name="T71" fmla="*/ 2147483647 h 142"/>
              <a:gd name="T72" fmla="*/ 2147483647 w 120"/>
              <a:gd name="T73" fmla="*/ 2147483647 h 142"/>
              <a:gd name="T74" fmla="*/ 2147483647 w 120"/>
              <a:gd name="T75" fmla="*/ 2147483647 h 142"/>
              <a:gd name="T76" fmla="*/ 2147483647 w 120"/>
              <a:gd name="T77" fmla="*/ 0 h 142"/>
              <a:gd name="T78" fmla="*/ 2147483647 w 120"/>
              <a:gd name="T79" fmla="*/ 2147483647 h 142"/>
              <a:gd name="T80" fmla="*/ 2147483647 w 120"/>
              <a:gd name="T81" fmla="*/ 2147483647 h 142"/>
              <a:gd name="T82" fmla="*/ 2147483647 w 120"/>
              <a:gd name="T83" fmla="*/ 2147483647 h 142"/>
              <a:gd name="T84" fmla="*/ 2147483647 w 120"/>
              <a:gd name="T85" fmla="*/ 2147483647 h 142"/>
              <a:gd name="T86" fmla="*/ 2147483647 w 120"/>
              <a:gd name="T87" fmla="*/ 2147483647 h 142"/>
              <a:gd name="T88" fmla="*/ 2147483647 w 120"/>
              <a:gd name="T89" fmla="*/ 2147483647 h 142"/>
              <a:gd name="T90" fmla="*/ 2147483647 w 120"/>
              <a:gd name="T91" fmla="*/ 2147483647 h 142"/>
              <a:gd name="T92" fmla="*/ 2147483647 w 120"/>
              <a:gd name="T93" fmla="*/ 2147483647 h 142"/>
              <a:gd name="T94" fmla="*/ 2147483647 w 120"/>
              <a:gd name="T95" fmla="*/ 2147483647 h 142"/>
              <a:gd name="T96" fmla="*/ 2147483647 w 120"/>
              <a:gd name="T97" fmla="*/ 2147483647 h 142"/>
              <a:gd name="T98" fmla="*/ 2147483647 w 120"/>
              <a:gd name="T99" fmla="*/ 2147483647 h 142"/>
              <a:gd name="T100" fmla="*/ 0 w 120"/>
              <a:gd name="T101" fmla="*/ 2147483647 h 14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20"/>
              <a:gd name="T154" fmla="*/ 0 h 142"/>
              <a:gd name="T155" fmla="*/ 120 w 120"/>
              <a:gd name="T156" fmla="*/ 142 h 142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20" h="142">
                <a:moveTo>
                  <a:pt x="0" y="97"/>
                </a:moveTo>
                <a:lnTo>
                  <a:pt x="8" y="101"/>
                </a:lnTo>
                <a:lnTo>
                  <a:pt x="13" y="106"/>
                </a:lnTo>
                <a:lnTo>
                  <a:pt x="13" y="113"/>
                </a:lnTo>
                <a:lnTo>
                  <a:pt x="9" y="117"/>
                </a:lnTo>
                <a:lnTo>
                  <a:pt x="4" y="122"/>
                </a:lnTo>
                <a:lnTo>
                  <a:pt x="6" y="129"/>
                </a:lnTo>
                <a:lnTo>
                  <a:pt x="10" y="132"/>
                </a:lnTo>
                <a:lnTo>
                  <a:pt x="17" y="131"/>
                </a:lnTo>
                <a:lnTo>
                  <a:pt x="21" y="138"/>
                </a:lnTo>
                <a:lnTo>
                  <a:pt x="23" y="138"/>
                </a:lnTo>
                <a:lnTo>
                  <a:pt x="26" y="142"/>
                </a:lnTo>
                <a:lnTo>
                  <a:pt x="28" y="142"/>
                </a:lnTo>
                <a:lnTo>
                  <a:pt x="32" y="139"/>
                </a:lnTo>
                <a:lnTo>
                  <a:pt x="38" y="141"/>
                </a:lnTo>
                <a:lnTo>
                  <a:pt x="41" y="138"/>
                </a:lnTo>
                <a:lnTo>
                  <a:pt x="46" y="139"/>
                </a:lnTo>
                <a:lnTo>
                  <a:pt x="49" y="136"/>
                </a:lnTo>
                <a:lnTo>
                  <a:pt x="51" y="133"/>
                </a:lnTo>
                <a:lnTo>
                  <a:pt x="51" y="127"/>
                </a:lnTo>
                <a:lnTo>
                  <a:pt x="55" y="127"/>
                </a:lnTo>
                <a:cubicBezTo>
                  <a:pt x="55" y="127"/>
                  <a:pt x="55" y="123"/>
                  <a:pt x="56" y="123"/>
                </a:cubicBezTo>
                <a:cubicBezTo>
                  <a:pt x="58" y="123"/>
                  <a:pt x="62" y="123"/>
                  <a:pt x="62" y="123"/>
                </a:cubicBezTo>
                <a:lnTo>
                  <a:pt x="63" y="117"/>
                </a:lnTo>
                <a:lnTo>
                  <a:pt x="70" y="117"/>
                </a:lnTo>
                <a:lnTo>
                  <a:pt x="72" y="113"/>
                </a:lnTo>
                <a:lnTo>
                  <a:pt x="83" y="113"/>
                </a:lnTo>
                <a:lnTo>
                  <a:pt x="83" y="117"/>
                </a:lnTo>
                <a:lnTo>
                  <a:pt x="84" y="121"/>
                </a:lnTo>
                <a:lnTo>
                  <a:pt x="93" y="116"/>
                </a:lnTo>
                <a:lnTo>
                  <a:pt x="100" y="118"/>
                </a:lnTo>
                <a:lnTo>
                  <a:pt x="106" y="98"/>
                </a:lnTo>
                <a:lnTo>
                  <a:pt x="108" y="99"/>
                </a:lnTo>
                <a:lnTo>
                  <a:pt x="110" y="102"/>
                </a:lnTo>
                <a:lnTo>
                  <a:pt x="115" y="101"/>
                </a:lnTo>
                <a:lnTo>
                  <a:pt x="114" y="94"/>
                </a:lnTo>
                <a:lnTo>
                  <a:pt x="114" y="82"/>
                </a:lnTo>
                <a:lnTo>
                  <a:pt x="110" y="81"/>
                </a:lnTo>
                <a:lnTo>
                  <a:pt x="117" y="75"/>
                </a:lnTo>
                <a:lnTo>
                  <a:pt x="120" y="72"/>
                </a:lnTo>
                <a:lnTo>
                  <a:pt x="118" y="67"/>
                </a:lnTo>
                <a:lnTo>
                  <a:pt x="114" y="66"/>
                </a:lnTo>
                <a:lnTo>
                  <a:pt x="103" y="67"/>
                </a:lnTo>
                <a:lnTo>
                  <a:pt x="99" y="67"/>
                </a:lnTo>
                <a:lnTo>
                  <a:pt x="97" y="70"/>
                </a:lnTo>
                <a:lnTo>
                  <a:pt x="91" y="70"/>
                </a:lnTo>
                <a:lnTo>
                  <a:pt x="91" y="73"/>
                </a:lnTo>
                <a:lnTo>
                  <a:pt x="87" y="73"/>
                </a:lnTo>
                <a:lnTo>
                  <a:pt x="86" y="68"/>
                </a:lnTo>
                <a:lnTo>
                  <a:pt x="91" y="68"/>
                </a:lnTo>
                <a:lnTo>
                  <a:pt x="94" y="63"/>
                </a:lnTo>
                <a:lnTo>
                  <a:pt x="92" y="51"/>
                </a:lnTo>
                <a:lnTo>
                  <a:pt x="88" y="52"/>
                </a:lnTo>
                <a:lnTo>
                  <a:pt x="87" y="48"/>
                </a:lnTo>
                <a:lnTo>
                  <a:pt x="83" y="50"/>
                </a:lnTo>
                <a:lnTo>
                  <a:pt x="80" y="47"/>
                </a:lnTo>
                <a:lnTo>
                  <a:pt x="81" y="40"/>
                </a:lnTo>
                <a:lnTo>
                  <a:pt x="84" y="45"/>
                </a:lnTo>
                <a:lnTo>
                  <a:pt x="87" y="42"/>
                </a:lnTo>
                <a:lnTo>
                  <a:pt x="89" y="46"/>
                </a:lnTo>
                <a:lnTo>
                  <a:pt x="93" y="42"/>
                </a:lnTo>
                <a:lnTo>
                  <a:pt x="91" y="38"/>
                </a:lnTo>
                <a:lnTo>
                  <a:pt x="95" y="32"/>
                </a:lnTo>
                <a:lnTo>
                  <a:pt x="99" y="35"/>
                </a:lnTo>
                <a:lnTo>
                  <a:pt x="104" y="33"/>
                </a:lnTo>
                <a:lnTo>
                  <a:pt x="104" y="30"/>
                </a:lnTo>
                <a:lnTo>
                  <a:pt x="113" y="26"/>
                </a:lnTo>
                <a:lnTo>
                  <a:pt x="108" y="23"/>
                </a:lnTo>
                <a:lnTo>
                  <a:pt x="114" y="23"/>
                </a:lnTo>
                <a:lnTo>
                  <a:pt x="114" y="19"/>
                </a:lnTo>
                <a:lnTo>
                  <a:pt x="109" y="20"/>
                </a:lnTo>
                <a:lnTo>
                  <a:pt x="108" y="16"/>
                </a:lnTo>
                <a:lnTo>
                  <a:pt x="101" y="16"/>
                </a:lnTo>
                <a:lnTo>
                  <a:pt x="103" y="10"/>
                </a:lnTo>
                <a:lnTo>
                  <a:pt x="100" y="10"/>
                </a:lnTo>
                <a:lnTo>
                  <a:pt x="100" y="8"/>
                </a:lnTo>
                <a:lnTo>
                  <a:pt x="102" y="6"/>
                </a:lnTo>
                <a:lnTo>
                  <a:pt x="99" y="0"/>
                </a:lnTo>
                <a:lnTo>
                  <a:pt x="85" y="7"/>
                </a:lnTo>
                <a:lnTo>
                  <a:pt x="85" y="12"/>
                </a:lnTo>
                <a:lnTo>
                  <a:pt x="82" y="12"/>
                </a:lnTo>
                <a:lnTo>
                  <a:pt x="82" y="17"/>
                </a:lnTo>
                <a:lnTo>
                  <a:pt x="91" y="19"/>
                </a:lnTo>
                <a:lnTo>
                  <a:pt x="85" y="22"/>
                </a:lnTo>
                <a:lnTo>
                  <a:pt x="70" y="20"/>
                </a:lnTo>
                <a:lnTo>
                  <a:pt x="60" y="26"/>
                </a:lnTo>
                <a:lnTo>
                  <a:pt x="43" y="35"/>
                </a:lnTo>
                <a:lnTo>
                  <a:pt x="30" y="44"/>
                </a:lnTo>
                <a:lnTo>
                  <a:pt x="24" y="53"/>
                </a:lnTo>
                <a:lnTo>
                  <a:pt x="24" y="57"/>
                </a:lnTo>
                <a:lnTo>
                  <a:pt x="21" y="57"/>
                </a:lnTo>
                <a:lnTo>
                  <a:pt x="15" y="63"/>
                </a:lnTo>
                <a:lnTo>
                  <a:pt x="20" y="69"/>
                </a:lnTo>
                <a:lnTo>
                  <a:pt x="22" y="67"/>
                </a:lnTo>
                <a:lnTo>
                  <a:pt x="28" y="70"/>
                </a:lnTo>
                <a:lnTo>
                  <a:pt x="28" y="77"/>
                </a:lnTo>
                <a:lnTo>
                  <a:pt x="23" y="77"/>
                </a:lnTo>
                <a:lnTo>
                  <a:pt x="19" y="79"/>
                </a:lnTo>
                <a:lnTo>
                  <a:pt x="12" y="75"/>
                </a:lnTo>
                <a:lnTo>
                  <a:pt x="13" y="84"/>
                </a:lnTo>
                <a:lnTo>
                  <a:pt x="4" y="89"/>
                </a:lnTo>
                <a:cubicBezTo>
                  <a:pt x="4" y="89"/>
                  <a:pt x="0" y="97"/>
                  <a:pt x="0" y="97"/>
                </a:cubicBez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24" name="Freeform 125"/>
          <p:cNvSpPr>
            <a:spLocks/>
          </p:cNvSpPr>
          <p:nvPr/>
        </p:nvSpPr>
        <p:spPr bwMode="auto">
          <a:xfrm>
            <a:off x="9956357" y="2835274"/>
            <a:ext cx="57150" cy="114300"/>
          </a:xfrm>
          <a:custGeom>
            <a:avLst/>
            <a:gdLst>
              <a:gd name="T0" fmla="*/ 2147483647 w 6"/>
              <a:gd name="T1" fmla="*/ 0 h 12"/>
              <a:gd name="T2" fmla="*/ 0 w 6"/>
              <a:gd name="T3" fmla="*/ 2147483647 h 12"/>
              <a:gd name="T4" fmla="*/ 2147483647 w 6"/>
              <a:gd name="T5" fmla="*/ 2147483647 h 12"/>
              <a:gd name="T6" fmla="*/ 2147483647 w 6"/>
              <a:gd name="T7" fmla="*/ 2147483647 h 12"/>
              <a:gd name="T8" fmla="*/ 2147483647 w 6"/>
              <a:gd name="T9" fmla="*/ 0 h 12"/>
              <a:gd name="T10" fmla="*/ 2147483647 w 6"/>
              <a:gd name="T11" fmla="*/ 0 h 1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12"/>
              <a:gd name="T20" fmla="*/ 6 w 6"/>
              <a:gd name="T21" fmla="*/ 12 h 1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12">
                <a:moveTo>
                  <a:pt x="1" y="0"/>
                </a:moveTo>
                <a:cubicBezTo>
                  <a:pt x="1" y="0"/>
                  <a:pt x="0" y="5"/>
                  <a:pt x="0" y="6"/>
                </a:cubicBezTo>
                <a:cubicBezTo>
                  <a:pt x="1" y="6"/>
                  <a:pt x="5" y="12"/>
                  <a:pt x="5" y="12"/>
                </a:cubicBezTo>
                <a:lnTo>
                  <a:pt x="6" y="3"/>
                </a:lnTo>
                <a:lnTo>
                  <a:pt x="5" y="0"/>
                </a:lnTo>
                <a:lnTo>
                  <a:pt x="1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25" name="Freeform 128"/>
          <p:cNvSpPr>
            <a:spLocks/>
          </p:cNvSpPr>
          <p:nvPr/>
        </p:nvSpPr>
        <p:spPr bwMode="auto">
          <a:xfrm>
            <a:off x="10365932" y="3873499"/>
            <a:ext cx="38100" cy="38100"/>
          </a:xfrm>
          <a:custGeom>
            <a:avLst/>
            <a:gdLst>
              <a:gd name="T0" fmla="*/ 2147483647 w 4"/>
              <a:gd name="T1" fmla="*/ 0 h 4"/>
              <a:gd name="T2" fmla="*/ 2147483647 w 4"/>
              <a:gd name="T3" fmla="*/ 2147483647 h 4"/>
              <a:gd name="T4" fmla="*/ 2147483647 w 4"/>
              <a:gd name="T5" fmla="*/ 2147483647 h 4"/>
              <a:gd name="T6" fmla="*/ 2147483647 w 4"/>
              <a:gd name="T7" fmla="*/ 2147483647 h 4"/>
              <a:gd name="T8" fmla="*/ 2147483647 w 4"/>
              <a:gd name="T9" fmla="*/ 0 h 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"/>
              <a:gd name="T16" fmla="*/ 0 h 4"/>
              <a:gd name="T17" fmla="*/ 4 w 4"/>
              <a:gd name="T18" fmla="*/ 4 h 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" h="4">
                <a:moveTo>
                  <a:pt x="1" y="0"/>
                </a:moveTo>
                <a:cubicBezTo>
                  <a:pt x="1" y="0"/>
                  <a:pt x="0" y="4"/>
                  <a:pt x="1" y="4"/>
                </a:cubicBezTo>
                <a:cubicBezTo>
                  <a:pt x="1" y="4"/>
                  <a:pt x="4" y="4"/>
                  <a:pt x="4" y="4"/>
                </a:cubicBezTo>
                <a:lnTo>
                  <a:pt x="3" y="2"/>
                </a:lnTo>
                <a:lnTo>
                  <a:pt x="1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26" name="Freeform 129"/>
          <p:cNvSpPr>
            <a:spLocks/>
          </p:cNvSpPr>
          <p:nvPr/>
        </p:nvSpPr>
        <p:spPr bwMode="auto">
          <a:xfrm>
            <a:off x="10308782" y="3911599"/>
            <a:ext cx="28575" cy="47625"/>
          </a:xfrm>
          <a:custGeom>
            <a:avLst/>
            <a:gdLst>
              <a:gd name="T0" fmla="*/ 2147483647 w 3"/>
              <a:gd name="T1" fmla="*/ 0 h 5"/>
              <a:gd name="T2" fmla="*/ 0 w 3"/>
              <a:gd name="T3" fmla="*/ 0 h 5"/>
              <a:gd name="T4" fmla="*/ 0 w 3"/>
              <a:gd name="T5" fmla="*/ 2147483647 h 5"/>
              <a:gd name="T6" fmla="*/ 2147483647 w 3"/>
              <a:gd name="T7" fmla="*/ 2147483647 h 5"/>
              <a:gd name="T8" fmla="*/ 2147483647 w 3"/>
              <a:gd name="T9" fmla="*/ 2147483647 h 5"/>
              <a:gd name="T10" fmla="*/ 2147483647 w 3"/>
              <a:gd name="T11" fmla="*/ 0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5"/>
              <a:gd name="T20" fmla="*/ 3 w 3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5">
                <a:moveTo>
                  <a:pt x="2" y="0"/>
                </a:moveTo>
                <a:lnTo>
                  <a:pt x="0" y="0"/>
                </a:lnTo>
                <a:lnTo>
                  <a:pt x="0" y="3"/>
                </a:lnTo>
                <a:lnTo>
                  <a:pt x="3" y="5"/>
                </a:lnTo>
                <a:lnTo>
                  <a:pt x="3" y="2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27" name="Freeform 130"/>
          <p:cNvSpPr>
            <a:spLocks/>
          </p:cNvSpPr>
          <p:nvPr/>
        </p:nvSpPr>
        <p:spPr bwMode="auto">
          <a:xfrm>
            <a:off x="10356407" y="3902074"/>
            <a:ext cx="38100" cy="104775"/>
          </a:xfrm>
          <a:custGeom>
            <a:avLst/>
            <a:gdLst>
              <a:gd name="T0" fmla="*/ 0 w 4"/>
              <a:gd name="T1" fmla="*/ 0 h 11"/>
              <a:gd name="T2" fmla="*/ 2147483647 w 4"/>
              <a:gd name="T3" fmla="*/ 2147483647 h 11"/>
              <a:gd name="T4" fmla="*/ 2147483647 w 4"/>
              <a:gd name="T5" fmla="*/ 2147483647 h 11"/>
              <a:gd name="T6" fmla="*/ 2147483647 w 4"/>
              <a:gd name="T7" fmla="*/ 2147483647 h 11"/>
              <a:gd name="T8" fmla="*/ 0 w 4"/>
              <a:gd name="T9" fmla="*/ 2147483647 h 11"/>
              <a:gd name="T10" fmla="*/ 0 w 4"/>
              <a:gd name="T11" fmla="*/ 0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"/>
              <a:gd name="T19" fmla="*/ 0 h 11"/>
              <a:gd name="T20" fmla="*/ 4 w 4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" h="11">
                <a:moveTo>
                  <a:pt x="0" y="0"/>
                </a:moveTo>
                <a:lnTo>
                  <a:pt x="4" y="3"/>
                </a:lnTo>
                <a:lnTo>
                  <a:pt x="4" y="11"/>
                </a:lnTo>
                <a:lnTo>
                  <a:pt x="1" y="10"/>
                </a:lnTo>
                <a:lnTo>
                  <a:pt x="0" y="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28" name="Freeform 131"/>
          <p:cNvSpPr>
            <a:spLocks/>
          </p:cNvSpPr>
          <p:nvPr/>
        </p:nvSpPr>
        <p:spPr bwMode="auto">
          <a:xfrm>
            <a:off x="10394507" y="4054474"/>
            <a:ext cx="47625" cy="66675"/>
          </a:xfrm>
          <a:custGeom>
            <a:avLst/>
            <a:gdLst>
              <a:gd name="T0" fmla="*/ 0 w 5"/>
              <a:gd name="T1" fmla="*/ 0 h 7"/>
              <a:gd name="T2" fmla="*/ 0 w 5"/>
              <a:gd name="T3" fmla="*/ 2147483647 h 7"/>
              <a:gd name="T4" fmla="*/ 2147483647 w 5"/>
              <a:gd name="T5" fmla="*/ 2147483647 h 7"/>
              <a:gd name="T6" fmla="*/ 2147483647 w 5"/>
              <a:gd name="T7" fmla="*/ 2147483647 h 7"/>
              <a:gd name="T8" fmla="*/ 0 w 5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7"/>
              <a:gd name="T17" fmla="*/ 5 w 5"/>
              <a:gd name="T18" fmla="*/ 7 h 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7">
                <a:moveTo>
                  <a:pt x="0" y="0"/>
                </a:moveTo>
                <a:lnTo>
                  <a:pt x="0" y="5"/>
                </a:lnTo>
                <a:lnTo>
                  <a:pt x="1" y="7"/>
                </a:lnTo>
                <a:lnTo>
                  <a:pt x="5" y="4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29" name="Freeform 132"/>
          <p:cNvSpPr>
            <a:spLocks/>
          </p:cNvSpPr>
          <p:nvPr/>
        </p:nvSpPr>
        <p:spPr bwMode="auto">
          <a:xfrm>
            <a:off x="10423082" y="4254499"/>
            <a:ext cx="47625" cy="57150"/>
          </a:xfrm>
          <a:custGeom>
            <a:avLst/>
            <a:gdLst>
              <a:gd name="T0" fmla="*/ 2147483647 w 5"/>
              <a:gd name="T1" fmla="*/ 0 h 6"/>
              <a:gd name="T2" fmla="*/ 0 w 5"/>
              <a:gd name="T3" fmla="*/ 2147483647 h 6"/>
              <a:gd name="T4" fmla="*/ 2147483647 w 5"/>
              <a:gd name="T5" fmla="*/ 2147483647 h 6"/>
              <a:gd name="T6" fmla="*/ 2147483647 w 5"/>
              <a:gd name="T7" fmla="*/ 2147483647 h 6"/>
              <a:gd name="T8" fmla="*/ 2147483647 w 5"/>
              <a:gd name="T9" fmla="*/ 2147483647 h 6"/>
              <a:gd name="T10" fmla="*/ 2147483647 w 5"/>
              <a:gd name="T11" fmla="*/ 0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6"/>
              <a:gd name="T20" fmla="*/ 5 w 5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6">
                <a:moveTo>
                  <a:pt x="2" y="0"/>
                </a:moveTo>
                <a:cubicBezTo>
                  <a:pt x="1" y="1"/>
                  <a:pt x="0" y="3"/>
                  <a:pt x="0" y="3"/>
                </a:cubicBezTo>
                <a:lnTo>
                  <a:pt x="1" y="6"/>
                </a:lnTo>
                <a:cubicBezTo>
                  <a:pt x="1" y="6"/>
                  <a:pt x="5" y="6"/>
                  <a:pt x="4" y="5"/>
                </a:cubicBezTo>
                <a:cubicBezTo>
                  <a:pt x="4" y="4"/>
                  <a:pt x="4" y="2"/>
                  <a:pt x="4" y="2"/>
                </a:cubicBez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30" name="Freeform 133"/>
          <p:cNvSpPr>
            <a:spLocks/>
          </p:cNvSpPr>
          <p:nvPr/>
        </p:nvSpPr>
        <p:spPr bwMode="auto">
          <a:xfrm>
            <a:off x="10432607" y="4359274"/>
            <a:ext cx="47625" cy="114300"/>
          </a:xfrm>
          <a:custGeom>
            <a:avLst/>
            <a:gdLst>
              <a:gd name="T0" fmla="*/ 2147483647 w 5"/>
              <a:gd name="T1" fmla="*/ 0 h 12"/>
              <a:gd name="T2" fmla="*/ 0 w 5"/>
              <a:gd name="T3" fmla="*/ 2147483647 h 12"/>
              <a:gd name="T4" fmla="*/ 2147483647 w 5"/>
              <a:gd name="T5" fmla="*/ 2147483647 h 12"/>
              <a:gd name="T6" fmla="*/ 2147483647 w 5"/>
              <a:gd name="T7" fmla="*/ 2147483647 h 12"/>
              <a:gd name="T8" fmla="*/ 2147483647 w 5"/>
              <a:gd name="T9" fmla="*/ 2147483647 h 12"/>
              <a:gd name="T10" fmla="*/ 2147483647 w 5"/>
              <a:gd name="T11" fmla="*/ 2147483647 h 12"/>
              <a:gd name="T12" fmla="*/ 2147483647 w 5"/>
              <a:gd name="T13" fmla="*/ 2147483647 h 12"/>
              <a:gd name="T14" fmla="*/ 2147483647 w 5"/>
              <a:gd name="T15" fmla="*/ 2147483647 h 12"/>
              <a:gd name="T16" fmla="*/ 2147483647 w 5"/>
              <a:gd name="T17" fmla="*/ 2147483647 h 12"/>
              <a:gd name="T18" fmla="*/ 2147483647 w 5"/>
              <a:gd name="T19" fmla="*/ 2147483647 h 12"/>
              <a:gd name="T20" fmla="*/ 2147483647 w 5"/>
              <a:gd name="T21" fmla="*/ 2147483647 h 12"/>
              <a:gd name="T22" fmla="*/ 2147483647 w 5"/>
              <a:gd name="T23" fmla="*/ 2147483647 h 12"/>
              <a:gd name="T24" fmla="*/ 2147483647 w 5"/>
              <a:gd name="T25" fmla="*/ 2147483647 h 12"/>
              <a:gd name="T26" fmla="*/ 2147483647 w 5"/>
              <a:gd name="T27" fmla="*/ 2147483647 h 12"/>
              <a:gd name="T28" fmla="*/ 2147483647 w 5"/>
              <a:gd name="T29" fmla="*/ 2147483647 h 12"/>
              <a:gd name="T30" fmla="*/ 2147483647 w 5"/>
              <a:gd name="T31" fmla="*/ 0 h 12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"/>
              <a:gd name="T49" fmla="*/ 0 h 12"/>
              <a:gd name="T50" fmla="*/ 5 w 5"/>
              <a:gd name="T51" fmla="*/ 12 h 12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" h="12">
                <a:moveTo>
                  <a:pt x="2" y="0"/>
                </a:moveTo>
                <a:lnTo>
                  <a:pt x="0" y="2"/>
                </a:lnTo>
                <a:lnTo>
                  <a:pt x="1" y="4"/>
                </a:lnTo>
                <a:lnTo>
                  <a:pt x="2" y="6"/>
                </a:lnTo>
                <a:lnTo>
                  <a:pt x="2" y="8"/>
                </a:lnTo>
                <a:lnTo>
                  <a:pt x="1" y="8"/>
                </a:lnTo>
                <a:lnTo>
                  <a:pt x="2" y="12"/>
                </a:lnTo>
                <a:lnTo>
                  <a:pt x="5" y="12"/>
                </a:lnTo>
                <a:lnTo>
                  <a:pt x="5" y="10"/>
                </a:lnTo>
                <a:lnTo>
                  <a:pt x="4" y="10"/>
                </a:lnTo>
                <a:lnTo>
                  <a:pt x="4" y="8"/>
                </a:lnTo>
                <a:lnTo>
                  <a:pt x="3" y="7"/>
                </a:lnTo>
                <a:lnTo>
                  <a:pt x="3" y="5"/>
                </a:lnTo>
                <a:lnTo>
                  <a:pt x="5" y="5"/>
                </a:lnTo>
                <a:lnTo>
                  <a:pt x="4" y="1"/>
                </a:lnTo>
                <a:cubicBezTo>
                  <a:pt x="4" y="1"/>
                  <a:pt x="2" y="0"/>
                  <a:pt x="2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31" name="Freeform 134"/>
          <p:cNvSpPr>
            <a:spLocks/>
          </p:cNvSpPr>
          <p:nvPr/>
        </p:nvSpPr>
        <p:spPr bwMode="auto">
          <a:xfrm>
            <a:off x="10404032" y="4568824"/>
            <a:ext cx="38100" cy="133350"/>
          </a:xfrm>
          <a:custGeom>
            <a:avLst/>
            <a:gdLst>
              <a:gd name="T0" fmla="*/ 2147483647 w 4"/>
              <a:gd name="T1" fmla="*/ 0 h 14"/>
              <a:gd name="T2" fmla="*/ 2147483647 w 4"/>
              <a:gd name="T3" fmla="*/ 2147483647 h 14"/>
              <a:gd name="T4" fmla="*/ 0 w 4"/>
              <a:gd name="T5" fmla="*/ 2147483647 h 14"/>
              <a:gd name="T6" fmla="*/ 0 w 4"/>
              <a:gd name="T7" fmla="*/ 2147483647 h 14"/>
              <a:gd name="T8" fmla="*/ 2147483647 w 4"/>
              <a:gd name="T9" fmla="*/ 2147483647 h 14"/>
              <a:gd name="T10" fmla="*/ 2147483647 w 4"/>
              <a:gd name="T11" fmla="*/ 2147483647 h 14"/>
              <a:gd name="T12" fmla="*/ 2147483647 w 4"/>
              <a:gd name="T13" fmla="*/ 2147483647 h 14"/>
              <a:gd name="T14" fmla="*/ 2147483647 w 4"/>
              <a:gd name="T15" fmla="*/ 2147483647 h 14"/>
              <a:gd name="T16" fmla="*/ 2147483647 w 4"/>
              <a:gd name="T17" fmla="*/ 0 h 1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"/>
              <a:gd name="T28" fmla="*/ 0 h 14"/>
              <a:gd name="T29" fmla="*/ 4 w 4"/>
              <a:gd name="T30" fmla="*/ 14 h 1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" h="14">
                <a:moveTo>
                  <a:pt x="3" y="0"/>
                </a:moveTo>
                <a:lnTo>
                  <a:pt x="1" y="3"/>
                </a:lnTo>
                <a:lnTo>
                  <a:pt x="0" y="4"/>
                </a:lnTo>
                <a:lnTo>
                  <a:pt x="0" y="13"/>
                </a:lnTo>
                <a:lnTo>
                  <a:pt x="2" y="14"/>
                </a:lnTo>
                <a:lnTo>
                  <a:pt x="4" y="14"/>
                </a:lnTo>
                <a:lnTo>
                  <a:pt x="4" y="10"/>
                </a:lnTo>
                <a:lnTo>
                  <a:pt x="4" y="2"/>
                </a:lnTo>
                <a:lnTo>
                  <a:pt x="3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32" name="Freeform 135"/>
          <p:cNvSpPr>
            <a:spLocks/>
          </p:cNvSpPr>
          <p:nvPr/>
        </p:nvSpPr>
        <p:spPr bwMode="auto">
          <a:xfrm>
            <a:off x="10318307" y="4740274"/>
            <a:ext cx="85725" cy="200025"/>
          </a:xfrm>
          <a:custGeom>
            <a:avLst/>
            <a:gdLst>
              <a:gd name="T0" fmla="*/ 2147483647 w 9"/>
              <a:gd name="T1" fmla="*/ 0 h 21"/>
              <a:gd name="T2" fmla="*/ 2147483647 w 9"/>
              <a:gd name="T3" fmla="*/ 0 h 21"/>
              <a:gd name="T4" fmla="*/ 2147483647 w 9"/>
              <a:gd name="T5" fmla="*/ 2147483647 h 21"/>
              <a:gd name="T6" fmla="*/ 2147483647 w 9"/>
              <a:gd name="T7" fmla="*/ 2147483647 h 21"/>
              <a:gd name="T8" fmla="*/ 2147483647 w 9"/>
              <a:gd name="T9" fmla="*/ 2147483647 h 21"/>
              <a:gd name="T10" fmla="*/ 2147483647 w 9"/>
              <a:gd name="T11" fmla="*/ 2147483647 h 21"/>
              <a:gd name="T12" fmla="*/ 2147483647 w 9"/>
              <a:gd name="T13" fmla="*/ 2147483647 h 21"/>
              <a:gd name="T14" fmla="*/ 0 w 9"/>
              <a:gd name="T15" fmla="*/ 2147483647 h 21"/>
              <a:gd name="T16" fmla="*/ 2147483647 w 9"/>
              <a:gd name="T17" fmla="*/ 2147483647 h 21"/>
              <a:gd name="T18" fmla="*/ 2147483647 w 9"/>
              <a:gd name="T19" fmla="*/ 0 h 2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9"/>
              <a:gd name="T31" fmla="*/ 0 h 21"/>
              <a:gd name="T32" fmla="*/ 9 w 9"/>
              <a:gd name="T33" fmla="*/ 21 h 2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9" h="21">
                <a:moveTo>
                  <a:pt x="5" y="0"/>
                </a:moveTo>
                <a:cubicBezTo>
                  <a:pt x="6" y="0"/>
                  <a:pt x="9" y="0"/>
                  <a:pt x="9" y="0"/>
                </a:cubicBezTo>
                <a:lnTo>
                  <a:pt x="8" y="4"/>
                </a:lnTo>
                <a:lnTo>
                  <a:pt x="3" y="11"/>
                </a:lnTo>
                <a:lnTo>
                  <a:pt x="3" y="18"/>
                </a:lnTo>
                <a:lnTo>
                  <a:pt x="2" y="21"/>
                </a:lnTo>
                <a:lnTo>
                  <a:pt x="1" y="11"/>
                </a:lnTo>
                <a:lnTo>
                  <a:pt x="0" y="5"/>
                </a:lnTo>
                <a:lnTo>
                  <a:pt x="5" y="3"/>
                </a:lnTo>
                <a:lnTo>
                  <a:pt x="5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33" name="Freeform 136"/>
          <p:cNvSpPr>
            <a:spLocks/>
          </p:cNvSpPr>
          <p:nvPr/>
        </p:nvSpPr>
        <p:spPr bwMode="auto">
          <a:xfrm>
            <a:off x="10280207" y="4959349"/>
            <a:ext cx="38100" cy="133350"/>
          </a:xfrm>
          <a:custGeom>
            <a:avLst/>
            <a:gdLst>
              <a:gd name="T0" fmla="*/ 0 w 4"/>
              <a:gd name="T1" fmla="*/ 2147483647 h 14"/>
              <a:gd name="T2" fmla="*/ 2147483647 w 4"/>
              <a:gd name="T3" fmla="*/ 0 h 14"/>
              <a:gd name="T4" fmla="*/ 2147483647 w 4"/>
              <a:gd name="T5" fmla="*/ 2147483647 h 14"/>
              <a:gd name="T6" fmla="*/ 2147483647 w 4"/>
              <a:gd name="T7" fmla="*/ 2147483647 h 14"/>
              <a:gd name="T8" fmla="*/ 2147483647 w 4"/>
              <a:gd name="T9" fmla="*/ 2147483647 h 14"/>
              <a:gd name="T10" fmla="*/ 0 w 4"/>
              <a:gd name="T11" fmla="*/ 2147483647 h 14"/>
              <a:gd name="T12" fmla="*/ 0 w 4"/>
              <a:gd name="T13" fmla="*/ 2147483647 h 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"/>
              <a:gd name="T22" fmla="*/ 0 h 14"/>
              <a:gd name="T23" fmla="*/ 4 w 4"/>
              <a:gd name="T24" fmla="*/ 14 h 1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" h="14">
                <a:moveTo>
                  <a:pt x="0" y="1"/>
                </a:moveTo>
                <a:lnTo>
                  <a:pt x="4" y="0"/>
                </a:lnTo>
                <a:lnTo>
                  <a:pt x="4" y="4"/>
                </a:lnTo>
                <a:lnTo>
                  <a:pt x="2" y="6"/>
                </a:lnTo>
                <a:lnTo>
                  <a:pt x="3" y="14"/>
                </a:lnTo>
                <a:lnTo>
                  <a:pt x="0" y="9"/>
                </a:lnTo>
                <a:lnTo>
                  <a:pt x="0" y="1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34" name="Freeform 137"/>
          <p:cNvSpPr>
            <a:spLocks/>
          </p:cNvSpPr>
          <p:nvPr/>
        </p:nvSpPr>
        <p:spPr bwMode="auto">
          <a:xfrm>
            <a:off x="10365932" y="4978399"/>
            <a:ext cx="28575" cy="57150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2147483647 h 6"/>
              <a:gd name="T4" fmla="*/ 0 w 3"/>
              <a:gd name="T5" fmla="*/ 2147483647 h 6"/>
              <a:gd name="T6" fmla="*/ 2147483647 w 3"/>
              <a:gd name="T7" fmla="*/ 2147483647 h 6"/>
              <a:gd name="T8" fmla="*/ 2147483647 w 3"/>
              <a:gd name="T9" fmla="*/ 2147483647 h 6"/>
              <a:gd name="T10" fmla="*/ 2147483647 w 3"/>
              <a:gd name="T11" fmla="*/ 0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6"/>
              <a:gd name="T20" fmla="*/ 3 w 3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6">
                <a:moveTo>
                  <a:pt x="2" y="0"/>
                </a:moveTo>
                <a:lnTo>
                  <a:pt x="0" y="2"/>
                </a:lnTo>
                <a:lnTo>
                  <a:pt x="0" y="5"/>
                </a:lnTo>
                <a:lnTo>
                  <a:pt x="3" y="6"/>
                </a:lnTo>
                <a:lnTo>
                  <a:pt x="3" y="1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35" name="Freeform 138"/>
          <p:cNvSpPr>
            <a:spLocks/>
          </p:cNvSpPr>
          <p:nvPr/>
        </p:nvSpPr>
        <p:spPr bwMode="auto">
          <a:xfrm>
            <a:off x="9337232" y="4159249"/>
            <a:ext cx="628650" cy="866775"/>
          </a:xfrm>
          <a:custGeom>
            <a:avLst/>
            <a:gdLst>
              <a:gd name="T0" fmla="*/ 0 w 66"/>
              <a:gd name="T1" fmla="*/ 0 h 91"/>
              <a:gd name="T2" fmla="*/ 2147483647 w 66"/>
              <a:gd name="T3" fmla="*/ 2147483647 h 91"/>
              <a:gd name="T4" fmla="*/ 2147483647 w 66"/>
              <a:gd name="T5" fmla="*/ 2147483647 h 91"/>
              <a:gd name="T6" fmla="*/ 2147483647 w 66"/>
              <a:gd name="T7" fmla="*/ 2147483647 h 91"/>
              <a:gd name="T8" fmla="*/ 2147483647 w 66"/>
              <a:gd name="T9" fmla="*/ 2147483647 h 91"/>
              <a:gd name="T10" fmla="*/ 2147483647 w 66"/>
              <a:gd name="T11" fmla="*/ 2147483647 h 91"/>
              <a:gd name="T12" fmla="*/ 2147483647 w 66"/>
              <a:gd name="T13" fmla="*/ 2147483647 h 91"/>
              <a:gd name="T14" fmla="*/ 2147483647 w 66"/>
              <a:gd name="T15" fmla="*/ 2147483647 h 91"/>
              <a:gd name="T16" fmla="*/ 2147483647 w 66"/>
              <a:gd name="T17" fmla="*/ 2147483647 h 91"/>
              <a:gd name="T18" fmla="*/ 2147483647 w 66"/>
              <a:gd name="T19" fmla="*/ 2147483647 h 91"/>
              <a:gd name="T20" fmla="*/ 2147483647 w 66"/>
              <a:gd name="T21" fmla="*/ 2147483647 h 91"/>
              <a:gd name="T22" fmla="*/ 2147483647 w 66"/>
              <a:gd name="T23" fmla="*/ 2147483647 h 91"/>
              <a:gd name="T24" fmla="*/ 2147483647 w 66"/>
              <a:gd name="T25" fmla="*/ 2147483647 h 91"/>
              <a:gd name="T26" fmla="*/ 2147483647 w 66"/>
              <a:gd name="T27" fmla="*/ 2147483647 h 91"/>
              <a:gd name="T28" fmla="*/ 2147483647 w 66"/>
              <a:gd name="T29" fmla="*/ 2147483647 h 91"/>
              <a:gd name="T30" fmla="*/ 2147483647 w 66"/>
              <a:gd name="T31" fmla="*/ 2147483647 h 91"/>
              <a:gd name="T32" fmla="*/ 2147483647 w 66"/>
              <a:gd name="T33" fmla="*/ 2147483647 h 91"/>
              <a:gd name="T34" fmla="*/ 2147483647 w 66"/>
              <a:gd name="T35" fmla="*/ 2147483647 h 91"/>
              <a:gd name="T36" fmla="*/ 2147483647 w 66"/>
              <a:gd name="T37" fmla="*/ 2147483647 h 91"/>
              <a:gd name="T38" fmla="*/ 2147483647 w 66"/>
              <a:gd name="T39" fmla="*/ 2147483647 h 91"/>
              <a:gd name="T40" fmla="*/ 2147483647 w 66"/>
              <a:gd name="T41" fmla="*/ 2147483647 h 91"/>
              <a:gd name="T42" fmla="*/ 2147483647 w 66"/>
              <a:gd name="T43" fmla="*/ 2147483647 h 91"/>
              <a:gd name="T44" fmla="*/ 2147483647 w 66"/>
              <a:gd name="T45" fmla="*/ 2147483647 h 91"/>
              <a:gd name="T46" fmla="*/ 2147483647 w 66"/>
              <a:gd name="T47" fmla="*/ 2147483647 h 91"/>
              <a:gd name="T48" fmla="*/ 2147483647 w 66"/>
              <a:gd name="T49" fmla="*/ 2147483647 h 91"/>
              <a:gd name="T50" fmla="*/ 2147483647 w 66"/>
              <a:gd name="T51" fmla="*/ 2147483647 h 91"/>
              <a:gd name="T52" fmla="*/ 2147483647 w 66"/>
              <a:gd name="T53" fmla="*/ 2147483647 h 91"/>
              <a:gd name="T54" fmla="*/ 2147483647 w 66"/>
              <a:gd name="T55" fmla="*/ 2147483647 h 91"/>
              <a:gd name="T56" fmla="*/ 2147483647 w 66"/>
              <a:gd name="T57" fmla="*/ 2147483647 h 91"/>
              <a:gd name="T58" fmla="*/ 2147483647 w 66"/>
              <a:gd name="T59" fmla="*/ 2147483647 h 91"/>
              <a:gd name="T60" fmla="*/ 2147483647 w 66"/>
              <a:gd name="T61" fmla="*/ 2147483647 h 91"/>
              <a:gd name="T62" fmla="*/ 2147483647 w 66"/>
              <a:gd name="T63" fmla="*/ 2147483647 h 91"/>
              <a:gd name="T64" fmla="*/ 2147483647 w 66"/>
              <a:gd name="T65" fmla="*/ 2147483647 h 91"/>
              <a:gd name="T66" fmla="*/ 2147483647 w 66"/>
              <a:gd name="T67" fmla="*/ 2147483647 h 91"/>
              <a:gd name="T68" fmla="*/ 2147483647 w 66"/>
              <a:gd name="T69" fmla="*/ 2147483647 h 91"/>
              <a:gd name="T70" fmla="*/ 2147483647 w 66"/>
              <a:gd name="T71" fmla="*/ 2147483647 h 91"/>
              <a:gd name="T72" fmla="*/ 0 w 66"/>
              <a:gd name="T73" fmla="*/ 2147483647 h 91"/>
              <a:gd name="T74" fmla="*/ 0 w 66"/>
              <a:gd name="T75" fmla="*/ 0 h 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66"/>
              <a:gd name="T115" fmla="*/ 0 h 91"/>
              <a:gd name="T116" fmla="*/ 66 w 66"/>
              <a:gd name="T117" fmla="*/ 91 h 91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66" h="91">
                <a:moveTo>
                  <a:pt x="0" y="0"/>
                </a:moveTo>
                <a:lnTo>
                  <a:pt x="5" y="2"/>
                </a:lnTo>
                <a:lnTo>
                  <a:pt x="7" y="7"/>
                </a:lnTo>
                <a:lnTo>
                  <a:pt x="15" y="12"/>
                </a:lnTo>
                <a:lnTo>
                  <a:pt x="20" y="23"/>
                </a:lnTo>
                <a:lnTo>
                  <a:pt x="31" y="32"/>
                </a:lnTo>
                <a:lnTo>
                  <a:pt x="41" y="40"/>
                </a:lnTo>
                <a:cubicBezTo>
                  <a:pt x="41" y="40"/>
                  <a:pt x="45" y="40"/>
                  <a:pt x="46" y="42"/>
                </a:cubicBezTo>
                <a:cubicBezTo>
                  <a:pt x="47" y="43"/>
                  <a:pt x="54" y="48"/>
                  <a:pt x="54" y="48"/>
                </a:cubicBezTo>
                <a:lnTo>
                  <a:pt x="45" y="48"/>
                </a:lnTo>
                <a:lnTo>
                  <a:pt x="40" y="51"/>
                </a:lnTo>
                <a:lnTo>
                  <a:pt x="47" y="69"/>
                </a:lnTo>
                <a:lnTo>
                  <a:pt x="57" y="74"/>
                </a:lnTo>
                <a:lnTo>
                  <a:pt x="62" y="74"/>
                </a:lnTo>
                <a:lnTo>
                  <a:pt x="66" y="79"/>
                </a:lnTo>
                <a:lnTo>
                  <a:pt x="64" y="81"/>
                </a:lnTo>
                <a:lnTo>
                  <a:pt x="61" y="78"/>
                </a:lnTo>
                <a:lnTo>
                  <a:pt x="57" y="80"/>
                </a:lnTo>
                <a:lnTo>
                  <a:pt x="54" y="79"/>
                </a:lnTo>
                <a:lnTo>
                  <a:pt x="55" y="83"/>
                </a:lnTo>
                <a:lnTo>
                  <a:pt x="55" y="86"/>
                </a:lnTo>
                <a:lnTo>
                  <a:pt x="56" y="91"/>
                </a:lnTo>
                <a:lnTo>
                  <a:pt x="49" y="82"/>
                </a:lnTo>
                <a:lnTo>
                  <a:pt x="49" y="76"/>
                </a:lnTo>
                <a:lnTo>
                  <a:pt x="43" y="74"/>
                </a:lnTo>
                <a:lnTo>
                  <a:pt x="42" y="66"/>
                </a:lnTo>
                <a:lnTo>
                  <a:pt x="36" y="61"/>
                </a:lnTo>
                <a:lnTo>
                  <a:pt x="29" y="48"/>
                </a:lnTo>
                <a:lnTo>
                  <a:pt x="22" y="42"/>
                </a:lnTo>
                <a:lnTo>
                  <a:pt x="20" y="35"/>
                </a:lnTo>
                <a:lnTo>
                  <a:pt x="12" y="30"/>
                </a:lnTo>
                <a:lnTo>
                  <a:pt x="7" y="20"/>
                </a:lnTo>
                <a:lnTo>
                  <a:pt x="2" y="16"/>
                </a:lnTo>
                <a:lnTo>
                  <a:pt x="3" y="12"/>
                </a:lnTo>
                <a:lnTo>
                  <a:pt x="6" y="13"/>
                </a:lnTo>
                <a:lnTo>
                  <a:pt x="4" y="8"/>
                </a:lnTo>
                <a:lnTo>
                  <a:pt x="0" y="6"/>
                </a:lnTo>
                <a:cubicBezTo>
                  <a:pt x="0" y="6"/>
                  <a:pt x="0" y="0"/>
                  <a:pt x="0" y="0"/>
                </a:cubicBez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36" name="Freeform 139"/>
          <p:cNvSpPr>
            <a:spLocks noChangeAspect="1"/>
          </p:cNvSpPr>
          <p:nvPr/>
        </p:nvSpPr>
        <p:spPr bwMode="auto">
          <a:xfrm>
            <a:off x="9411845" y="2189162"/>
            <a:ext cx="968375" cy="1666875"/>
          </a:xfrm>
          <a:custGeom>
            <a:avLst/>
            <a:gdLst>
              <a:gd name="T0" fmla="*/ 2147483647 w 107"/>
              <a:gd name="T1" fmla="*/ 2147483647 h 184"/>
              <a:gd name="T2" fmla="*/ 2147483647 w 107"/>
              <a:gd name="T3" fmla="*/ 2147483647 h 184"/>
              <a:gd name="T4" fmla="*/ 2147483647 w 107"/>
              <a:gd name="T5" fmla="*/ 2147483647 h 184"/>
              <a:gd name="T6" fmla="*/ 2147483647 w 107"/>
              <a:gd name="T7" fmla="*/ 2147483647 h 184"/>
              <a:gd name="T8" fmla="*/ 2147483647 w 107"/>
              <a:gd name="T9" fmla="*/ 2147483647 h 184"/>
              <a:gd name="T10" fmla="*/ 2147483647 w 107"/>
              <a:gd name="T11" fmla="*/ 2147483647 h 184"/>
              <a:gd name="T12" fmla="*/ 2147483647 w 107"/>
              <a:gd name="T13" fmla="*/ 2147483647 h 184"/>
              <a:gd name="T14" fmla="*/ 2147483647 w 107"/>
              <a:gd name="T15" fmla="*/ 2147483647 h 184"/>
              <a:gd name="T16" fmla="*/ 2147483647 w 107"/>
              <a:gd name="T17" fmla="*/ 2147483647 h 184"/>
              <a:gd name="T18" fmla="*/ 2147483647 w 107"/>
              <a:gd name="T19" fmla="*/ 2147483647 h 184"/>
              <a:gd name="T20" fmla="*/ 2147483647 w 107"/>
              <a:gd name="T21" fmla="*/ 2147483647 h 184"/>
              <a:gd name="T22" fmla="*/ 2147483647 w 107"/>
              <a:gd name="T23" fmla="*/ 2147483647 h 184"/>
              <a:gd name="T24" fmla="*/ 2147483647 w 107"/>
              <a:gd name="T25" fmla="*/ 2147483647 h 184"/>
              <a:gd name="T26" fmla="*/ 2147483647 w 107"/>
              <a:gd name="T27" fmla="*/ 2147483647 h 184"/>
              <a:gd name="T28" fmla="*/ 2147483647 w 107"/>
              <a:gd name="T29" fmla="*/ 2147483647 h 184"/>
              <a:gd name="T30" fmla="*/ 2147483647 w 107"/>
              <a:gd name="T31" fmla="*/ 2147483647 h 184"/>
              <a:gd name="T32" fmla="*/ 2147483647 w 107"/>
              <a:gd name="T33" fmla="*/ 2147483647 h 184"/>
              <a:gd name="T34" fmla="*/ 2147483647 w 107"/>
              <a:gd name="T35" fmla="*/ 2147483647 h 184"/>
              <a:gd name="T36" fmla="*/ 2147483647 w 107"/>
              <a:gd name="T37" fmla="*/ 2147483647 h 184"/>
              <a:gd name="T38" fmla="*/ 2147483647 w 107"/>
              <a:gd name="T39" fmla="*/ 2147483647 h 184"/>
              <a:gd name="T40" fmla="*/ 2147483647 w 107"/>
              <a:gd name="T41" fmla="*/ 2147483647 h 184"/>
              <a:gd name="T42" fmla="*/ 2147483647 w 107"/>
              <a:gd name="T43" fmla="*/ 2147483647 h 184"/>
              <a:gd name="T44" fmla="*/ 2147483647 w 107"/>
              <a:gd name="T45" fmla="*/ 2147483647 h 184"/>
              <a:gd name="T46" fmla="*/ 2147483647 w 107"/>
              <a:gd name="T47" fmla="*/ 2147483647 h 184"/>
              <a:gd name="T48" fmla="*/ 2147483647 w 107"/>
              <a:gd name="T49" fmla="*/ 0 h 184"/>
              <a:gd name="T50" fmla="*/ 2147483647 w 107"/>
              <a:gd name="T51" fmla="*/ 2147483647 h 184"/>
              <a:gd name="T52" fmla="*/ 2147483647 w 107"/>
              <a:gd name="T53" fmla="*/ 2147483647 h 184"/>
              <a:gd name="T54" fmla="*/ 2147483647 w 107"/>
              <a:gd name="T55" fmla="*/ 2147483647 h 184"/>
              <a:gd name="T56" fmla="*/ 2147483647 w 107"/>
              <a:gd name="T57" fmla="*/ 2147483647 h 184"/>
              <a:gd name="T58" fmla="*/ 2147483647 w 107"/>
              <a:gd name="T59" fmla="*/ 2147483647 h 184"/>
              <a:gd name="T60" fmla="*/ 2147483647 w 107"/>
              <a:gd name="T61" fmla="*/ 2147483647 h 184"/>
              <a:gd name="T62" fmla="*/ 2147483647 w 107"/>
              <a:gd name="T63" fmla="*/ 2147483647 h 184"/>
              <a:gd name="T64" fmla="*/ 2147483647 w 107"/>
              <a:gd name="T65" fmla="*/ 2147483647 h 184"/>
              <a:gd name="T66" fmla="*/ 2147483647 w 107"/>
              <a:gd name="T67" fmla="*/ 2147483647 h 184"/>
              <a:gd name="T68" fmla="*/ 2147483647 w 107"/>
              <a:gd name="T69" fmla="*/ 2147483647 h 184"/>
              <a:gd name="T70" fmla="*/ 0 w 107"/>
              <a:gd name="T71" fmla="*/ 2147483647 h 184"/>
              <a:gd name="T72" fmla="*/ 2147483647 w 107"/>
              <a:gd name="T73" fmla="*/ 2147483647 h 184"/>
              <a:gd name="T74" fmla="*/ 2147483647 w 107"/>
              <a:gd name="T75" fmla="*/ 2147483647 h 184"/>
              <a:gd name="T76" fmla="*/ 2147483647 w 107"/>
              <a:gd name="T77" fmla="*/ 2147483647 h 184"/>
              <a:gd name="T78" fmla="*/ 2147483647 w 107"/>
              <a:gd name="T79" fmla="*/ 2147483647 h 184"/>
              <a:gd name="T80" fmla="*/ 2147483647 w 107"/>
              <a:gd name="T81" fmla="*/ 2147483647 h 184"/>
              <a:gd name="T82" fmla="*/ 2147483647 w 107"/>
              <a:gd name="T83" fmla="*/ 2147483647 h 184"/>
              <a:gd name="T84" fmla="*/ 2147483647 w 107"/>
              <a:gd name="T85" fmla="*/ 2147483647 h 184"/>
              <a:gd name="T86" fmla="*/ 2147483647 w 107"/>
              <a:gd name="T87" fmla="*/ 2147483647 h 184"/>
              <a:gd name="T88" fmla="*/ 2147483647 w 107"/>
              <a:gd name="T89" fmla="*/ 2147483647 h 184"/>
              <a:gd name="T90" fmla="*/ 2147483647 w 107"/>
              <a:gd name="T91" fmla="*/ 2147483647 h 184"/>
              <a:gd name="T92" fmla="*/ 2147483647 w 107"/>
              <a:gd name="T93" fmla="*/ 2147483647 h 184"/>
              <a:gd name="T94" fmla="*/ 2147483647 w 107"/>
              <a:gd name="T95" fmla="*/ 2147483647 h 184"/>
              <a:gd name="T96" fmla="*/ 2147483647 w 107"/>
              <a:gd name="T97" fmla="*/ 2147483647 h 184"/>
              <a:gd name="T98" fmla="*/ 2147483647 w 107"/>
              <a:gd name="T99" fmla="*/ 2147483647 h 184"/>
              <a:gd name="T100" fmla="*/ 2147483647 w 107"/>
              <a:gd name="T101" fmla="*/ 2147483647 h 184"/>
              <a:gd name="T102" fmla="*/ 2147483647 w 107"/>
              <a:gd name="T103" fmla="*/ 2147483647 h 184"/>
              <a:gd name="T104" fmla="*/ 2147483647 w 107"/>
              <a:gd name="T105" fmla="*/ 2147483647 h 184"/>
              <a:gd name="T106" fmla="*/ 2147483647 w 107"/>
              <a:gd name="T107" fmla="*/ 2147483647 h 184"/>
              <a:gd name="T108" fmla="*/ 2147483647 w 107"/>
              <a:gd name="T109" fmla="*/ 2147483647 h 184"/>
              <a:gd name="T110" fmla="*/ 2147483647 w 107"/>
              <a:gd name="T111" fmla="*/ 2147483647 h 18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07"/>
              <a:gd name="T169" fmla="*/ 0 h 184"/>
              <a:gd name="T170" fmla="*/ 107 w 107"/>
              <a:gd name="T171" fmla="*/ 184 h 18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07" h="184">
                <a:moveTo>
                  <a:pt x="55" y="146"/>
                </a:moveTo>
                <a:lnTo>
                  <a:pt x="66" y="157"/>
                </a:lnTo>
                <a:lnTo>
                  <a:pt x="81" y="167"/>
                </a:lnTo>
                <a:lnTo>
                  <a:pt x="94" y="175"/>
                </a:lnTo>
                <a:lnTo>
                  <a:pt x="106" y="184"/>
                </a:lnTo>
                <a:lnTo>
                  <a:pt x="107" y="183"/>
                </a:lnTo>
                <a:lnTo>
                  <a:pt x="107" y="170"/>
                </a:lnTo>
                <a:lnTo>
                  <a:pt x="104" y="161"/>
                </a:lnTo>
                <a:lnTo>
                  <a:pt x="99" y="155"/>
                </a:lnTo>
                <a:lnTo>
                  <a:pt x="99" y="148"/>
                </a:lnTo>
                <a:lnTo>
                  <a:pt x="103" y="146"/>
                </a:lnTo>
                <a:lnTo>
                  <a:pt x="103" y="144"/>
                </a:lnTo>
                <a:lnTo>
                  <a:pt x="94" y="137"/>
                </a:lnTo>
                <a:lnTo>
                  <a:pt x="93" y="129"/>
                </a:lnTo>
                <a:lnTo>
                  <a:pt x="97" y="125"/>
                </a:lnTo>
                <a:lnTo>
                  <a:pt x="95" y="119"/>
                </a:lnTo>
                <a:lnTo>
                  <a:pt x="89" y="117"/>
                </a:lnTo>
                <a:lnTo>
                  <a:pt x="81" y="103"/>
                </a:lnTo>
                <a:lnTo>
                  <a:pt x="83" y="102"/>
                </a:lnTo>
                <a:lnTo>
                  <a:pt x="85" y="107"/>
                </a:lnTo>
                <a:lnTo>
                  <a:pt x="88" y="106"/>
                </a:lnTo>
                <a:lnTo>
                  <a:pt x="88" y="100"/>
                </a:lnTo>
                <a:lnTo>
                  <a:pt x="83" y="98"/>
                </a:lnTo>
                <a:lnTo>
                  <a:pt x="78" y="99"/>
                </a:lnTo>
                <a:lnTo>
                  <a:pt x="74" y="96"/>
                </a:lnTo>
                <a:lnTo>
                  <a:pt x="72" y="92"/>
                </a:lnTo>
                <a:lnTo>
                  <a:pt x="66" y="92"/>
                </a:lnTo>
                <a:lnTo>
                  <a:pt x="66" y="95"/>
                </a:lnTo>
                <a:lnTo>
                  <a:pt x="62" y="95"/>
                </a:lnTo>
                <a:lnTo>
                  <a:pt x="62" y="93"/>
                </a:lnTo>
                <a:lnTo>
                  <a:pt x="53" y="76"/>
                </a:lnTo>
                <a:lnTo>
                  <a:pt x="52" y="73"/>
                </a:lnTo>
                <a:lnTo>
                  <a:pt x="52" y="67"/>
                </a:lnTo>
                <a:lnTo>
                  <a:pt x="56" y="67"/>
                </a:lnTo>
                <a:lnTo>
                  <a:pt x="56" y="63"/>
                </a:lnTo>
                <a:lnTo>
                  <a:pt x="54" y="59"/>
                </a:lnTo>
                <a:lnTo>
                  <a:pt x="54" y="52"/>
                </a:lnTo>
                <a:lnTo>
                  <a:pt x="63" y="60"/>
                </a:lnTo>
                <a:lnTo>
                  <a:pt x="61" y="42"/>
                </a:lnTo>
                <a:lnTo>
                  <a:pt x="65" y="37"/>
                </a:lnTo>
                <a:lnTo>
                  <a:pt x="73" y="38"/>
                </a:lnTo>
                <a:lnTo>
                  <a:pt x="75" y="37"/>
                </a:lnTo>
                <a:lnTo>
                  <a:pt x="70" y="29"/>
                </a:lnTo>
                <a:lnTo>
                  <a:pt x="70" y="24"/>
                </a:lnTo>
                <a:lnTo>
                  <a:pt x="69" y="20"/>
                </a:lnTo>
                <a:lnTo>
                  <a:pt x="68" y="11"/>
                </a:lnTo>
                <a:lnTo>
                  <a:pt x="67" y="3"/>
                </a:lnTo>
                <a:lnTo>
                  <a:pt x="62" y="4"/>
                </a:lnTo>
                <a:lnTo>
                  <a:pt x="59" y="1"/>
                </a:lnTo>
                <a:lnTo>
                  <a:pt x="57" y="0"/>
                </a:lnTo>
                <a:lnTo>
                  <a:pt x="52" y="21"/>
                </a:lnTo>
                <a:lnTo>
                  <a:pt x="45" y="19"/>
                </a:lnTo>
                <a:lnTo>
                  <a:pt x="35" y="24"/>
                </a:lnTo>
                <a:lnTo>
                  <a:pt x="34" y="20"/>
                </a:lnTo>
                <a:lnTo>
                  <a:pt x="34" y="16"/>
                </a:lnTo>
                <a:lnTo>
                  <a:pt x="22" y="16"/>
                </a:lnTo>
                <a:lnTo>
                  <a:pt x="20" y="20"/>
                </a:lnTo>
                <a:lnTo>
                  <a:pt x="13" y="20"/>
                </a:lnTo>
                <a:lnTo>
                  <a:pt x="12" y="26"/>
                </a:lnTo>
                <a:lnTo>
                  <a:pt x="11" y="26"/>
                </a:lnTo>
                <a:lnTo>
                  <a:pt x="9" y="26"/>
                </a:lnTo>
                <a:lnTo>
                  <a:pt x="7" y="26"/>
                </a:lnTo>
                <a:lnTo>
                  <a:pt x="6" y="26"/>
                </a:lnTo>
                <a:lnTo>
                  <a:pt x="5" y="26"/>
                </a:lnTo>
                <a:lnTo>
                  <a:pt x="5" y="27"/>
                </a:lnTo>
                <a:lnTo>
                  <a:pt x="5" y="28"/>
                </a:lnTo>
                <a:lnTo>
                  <a:pt x="5" y="30"/>
                </a:lnTo>
                <a:lnTo>
                  <a:pt x="4" y="30"/>
                </a:lnTo>
                <a:lnTo>
                  <a:pt x="0" y="30"/>
                </a:lnTo>
                <a:lnTo>
                  <a:pt x="0" y="37"/>
                </a:lnTo>
                <a:lnTo>
                  <a:pt x="3" y="41"/>
                </a:lnTo>
                <a:lnTo>
                  <a:pt x="8" y="46"/>
                </a:lnTo>
                <a:lnTo>
                  <a:pt x="13" y="46"/>
                </a:lnTo>
                <a:lnTo>
                  <a:pt x="13" y="49"/>
                </a:lnTo>
                <a:lnTo>
                  <a:pt x="16" y="54"/>
                </a:lnTo>
                <a:lnTo>
                  <a:pt x="19" y="53"/>
                </a:lnTo>
                <a:lnTo>
                  <a:pt x="22" y="56"/>
                </a:lnTo>
                <a:lnTo>
                  <a:pt x="23" y="60"/>
                </a:lnTo>
                <a:lnTo>
                  <a:pt x="26" y="62"/>
                </a:lnTo>
                <a:lnTo>
                  <a:pt x="30" y="64"/>
                </a:lnTo>
                <a:lnTo>
                  <a:pt x="31" y="62"/>
                </a:lnTo>
                <a:lnTo>
                  <a:pt x="32" y="60"/>
                </a:lnTo>
                <a:lnTo>
                  <a:pt x="23" y="53"/>
                </a:lnTo>
                <a:lnTo>
                  <a:pt x="26" y="49"/>
                </a:lnTo>
                <a:lnTo>
                  <a:pt x="26" y="44"/>
                </a:lnTo>
                <a:lnTo>
                  <a:pt x="29" y="44"/>
                </a:lnTo>
                <a:lnTo>
                  <a:pt x="33" y="42"/>
                </a:lnTo>
                <a:lnTo>
                  <a:pt x="33" y="44"/>
                </a:lnTo>
                <a:lnTo>
                  <a:pt x="30" y="46"/>
                </a:lnTo>
                <a:lnTo>
                  <a:pt x="30" y="53"/>
                </a:lnTo>
                <a:lnTo>
                  <a:pt x="35" y="58"/>
                </a:lnTo>
                <a:lnTo>
                  <a:pt x="39" y="58"/>
                </a:lnTo>
                <a:lnTo>
                  <a:pt x="39" y="63"/>
                </a:lnTo>
                <a:lnTo>
                  <a:pt x="41" y="63"/>
                </a:lnTo>
                <a:lnTo>
                  <a:pt x="41" y="67"/>
                </a:lnTo>
                <a:lnTo>
                  <a:pt x="39" y="74"/>
                </a:lnTo>
                <a:lnTo>
                  <a:pt x="39" y="77"/>
                </a:lnTo>
                <a:lnTo>
                  <a:pt x="44" y="81"/>
                </a:lnTo>
                <a:lnTo>
                  <a:pt x="42" y="94"/>
                </a:lnTo>
                <a:lnTo>
                  <a:pt x="48" y="111"/>
                </a:lnTo>
                <a:lnTo>
                  <a:pt x="48" y="114"/>
                </a:lnTo>
                <a:lnTo>
                  <a:pt x="45" y="117"/>
                </a:lnTo>
                <a:lnTo>
                  <a:pt x="47" y="119"/>
                </a:lnTo>
                <a:lnTo>
                  <a:pt x="47" y="121"/>
                </a:lnTo>
                <a:lnTo>
                  <a:pt x="44" y="121"/>
                </a:lnTo>
                <a:lnTo>
                  <a:pt x="44" y="125"/>
                </a:lnTo>
                <a:lnTo>
                  <a:pt x="49" y="128"/>
                </a:lnTo>
                <a:lnTo>
                  <a:pt x="49" y="137"/>
                </a:lnTo>
                <a:lnTo>
                  <a:pt x="55" y="146"/>
                </a:lnTo>
                <a:close/>
              </a:path>
            </a:pathLst>
          </a:custGeom>
          <a:solidFill>
            <a:srgbClr val="0099FF"/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37" name="Oval 179"/>
          <p:cNvSpPr>
            <a:spLocks noChangeArrowheads="1"/>
          </p:cNvSpPr>
          <p:nvPr/>
        </p:nvSpPr>
        <p:spPr bwMode="auto">
          <a:xfrm>
            <a:off x="3169795" y="2597149"/>
            <a:ext cx="60325" cy="60325"/>
          </a:xfrm>
          <a:prstGeom prst="ellipse">
            <a:avLst/>
          </a:prstGeom>
          <a:gradFill rotWithShape="1">
            <a:gsLst>
              <a:gs pos="0">
                <a:srgbClr val="4572A7"/>
              </a:gs>
              <a:gs pos="100000">
                <a:srgbClr val="7798BF"/>
              </a:gs>
            </a:gsLst>
            <a:lin ang="0" scaled="1"/>
          </a:gradFill>
          <a:ln w="0" algn="ctr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700" b="1" baseline="-25000">
                <a:solidFill>
                  <a:srgbClr val="003366"/>
                </a:solidFill>
                <a:latin typeface="Arial Narrow" pitchFamily="34" charset="0"/>
              </a:defRPr>
            </a:lvl1pPr>
            <a:lvl2pPr marL="742950" indent="-285750" eaLnBrk="0" hangingPunct="0">
              <a:defRPr sz="700" b="1" baseline="-25000">
                <a:solidFill>
                  <a:srgbClr val="003366"/>
                </a:solidFill>
                <a:latin typeface="Arial Narrow" pitchFamily="34" charset="0"/>
              </a:defRPr>
            </a:lvl2pPr>
            <a:lvl3pPr marL="1143000" indent="-228600" eaLnBrk="0" hangingPunct="0">
              <a:defRPr sz="700" b="1" baseline="-25000">
                <a:solidFill>
                  <a:srgbClr val="003366"/>
                </a:solidFill>
                <a:latin typeface="Arial Narrow" pitchFamily="34" charset="0"/>
              </a:defRPr>
            </a:lvl3pPr>
            <a:lvl4pPr marL="1600200" indent="-228600" eaLnBrk="0" hangingPunct="0">
              <a:defRPr sz="700" b="1" baseline="-25000">
                <a:solidFill>
                  <a:srgbClr val="003366"/>
                </a:solidFill>
                <a:latin typeface="Arial Narrow" pitchFamily="34" charset="0"/>
              </a:defRPr>
            </a:lvl4pPr>
            <a:lvl5pPr marL="2057400" indent="-228600" eaLnBrk="0" hangingPunct="0">
              <a:defRPr sz="700" b="1" baseline="-25000">
                <a:solidFill>
                  <a:srgbClr val="003366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00" b="1" baseline="-25000">
                <a:solidFill>
                  <a:srgbClr val="003366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00" b="1" baseline="-25000">
                <a:solidFill>
                  <a:srgbClr val="003366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00" b="1" baseline="-25000">
                <a:solidFill>
                  <a:srgbClr val="003366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00" b="1" baseline="-25000">
                <a:solidFill>
                  <a:srgbClr val="003366"/>
                </a:solidFill>
                <a:latin typeface="Arial Narrow" pitchFamily="34" charset="0"/>
              </a:defRPr>
            </a:lvl9pPr>
          </a:lstStyle>
          <a:p>
            <a:pPr algn="ctr" eaLnBrk="1" hangingPunct="1"/>
            <a:endParaRPr lang="ru-RU" altLang="ru-RU"/>
          </a:p>
        </p:txBody>
      </p:sp>
      <p:sp>
        <p:nvSpPr>
          <p:cNvPr id="138" name="Овал 137"/>
          <p:cNvSpPr/>
          <p:nvPr/>
        </p:nvSpPr>
        <p:spPr>
          <a:xfrm>
            <a:off x="3506241" y="2627311"/>
            <a:ext cx="90488" cy="82550"/>
          </a:xfrm>
          <a:prstGeom prst="ellipse">
            <a:avLst/>
          </a:prstGeom>
          <a:solidFill>
            <a:srgbClr val="0099FF"/>
          </a:solidFill>
          <a:ln>
            <a:solidFill>
              <a:srgbClr val="009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9" name="Freeform 110"/>
          <p:cNvSpPr>
            <a:spLocks/>
          </p:cNvSpPr>
          <p:nvPr/>
        </p:nvSpPr>
        <p:spPr bwMode="auto">
          <a:xfrm>
            <a:off x="1837153" y="3867151"/>
            <a:ext cx="273851" cy="234947"/>
          </a:xfrm>
          <a:custGeom>
            <a:avLst/>
            <a:gdLst>
              <a:gd name="T0" fmla="*/ 2147483647 w 26"/>
              <a:gd name="T1" fmla="*/ 2147483647 h 22"/>
              <a:gd name="T2" fmla="*/ 2147483647 w 26"/>
              <a:gd name="T3" fmla="*/ 2147483647 h 22"/>
              <a:gd name="T4" fmla="*/ 2147483647 w 26"/>
              <a:gd name="T5" fmla="*/ 2147483647 h 22"/>
              <a:gd name="T6" fmla="*/ 2147483647 w 26"/>
              <a:gd name="T7" fmla="*/ 2147483647 h 22"/>
              <a:gd name="T8" fmla="*/ 2147483647 w 26"/>
              <a:gd name="T9" fmla="*/ 2147483647 h 22"/>
              <a:gd name="T10" fmla="*/ 2147483647 w 26"/>
              <a:gd name="T11" fmla="*/ 2147483647 h 22"/>
              <a:gd name="T12" fmla="*/ 2147483647 w 26"/>
              <a:gd name="T13" fmla="*/ 2147483647 h 22"/>
              <a:gd name="T14" fmla="*/ 2147483647 w 26"/>
              <a:gd name="T15" fmla="*/ 2147483647 h 22"/>
              <a:gd name="T16" fmla="*/ 2147483647 w 26"/>
              <a:gd name="T17" fmla="*/ 2147483647 h 22"/>
              <a:gd name="T18" fmla="*/ 2147483647 w 26"/>
              <a:gd name="T19" fmla="*/ 2147483647 h 22"/>
              <a:gd name="T20" fmla="*/ 2147483647 w 26"/>
              <a:gd name="T21" fmla="*/ 2147483647 h 22"/>
              <a:gd name="T22" fmla="*/ 2147483647 w 26"/>
              <a:gd name="T23" fmla="*/ 2147483647 h 22"/>
              <a:gd name="T24" fmla="*/ 2147483647 w 26"/>
              <a:gd name="T25" fmla="*/ 0 h 22"/>
              <a:gd name="T26" fmla="*/ 2147483647 w 26"/>
              <a:gd name="T27" fmla="*/ 0 h 22"/>
              <a:gd name="T28" fmla="*/ 2147483647 w 26"/>
              <a:gd name="T29" fmla="*/ 2147483647 h 22"/>
              <a:gd name="T30" fmla="*/ 2147483647 w 26"/>
              <a:gd name="T31" fmla="*/ 2147483647 h 22"/>
              <a:gd name="T32" fmla="*/ 2147483647 w 26"/>
              <a:gd name="T33" fmla="*/ 2147483647 h 22"/>
              <a:gd name="T34" fmla="*/ 2147483647 w 26"/>
              <a:gd name="T35" fmla="*/ 2147483647 h 22"/>
              <a:gd name="T36" fmla="*/ 2147483647 w 26"/>
              <a:gd name="T37" fmla="*/ 2147483647 h 22"/>
              <a:gd name="T38" fmla="*/ 2147483647 w 26"/>
              <a:gd name="T39" fmla="*/ 2147483647 h 22"/>
              <a:gd name="T40" fmla="*/ 2147483647 w 26"/>
              <a:gd name="T41" fmla="*/ 2147483647 h 22"/>
              <a:gd name="T42" fmla="*/ 2147483647 w 26"/>
              <a:gd name="T43" fmla="*/ 2147483647 h 22"/>
              <a:gd name="T44" fmla="*/ 2147483647 w 26"/>
              <a:gd name="T45" fmla="*/ 2147483647 h 22"/>
              <a:gd name="T46" fmla="*/ 2147483647 w 26"/>
              <a:gd name="T47" fmla="*/ 2147483647 h 22"/>
              <a:gd name="T48" fmla="*/ 2147483647 w 26"/>
              <a:gd name="T49" fmla="*/ 2147483647 h 22"/>
              <a:gd name="T50" fmla="*/ 0 w 26"/>
              <a:gd name="T51" fmla="*/ 2147483647 h 22"/>
              <a:gd name="T52" fmla="*/ 0 w 26"/>
              <a:gd name="T53" fmla="*/ 2147483647 h 22"/>
              <a:gd name="T54" fmla="*/ 2147483647 w 26"/>
              <a:gd name="T55" fmla="*/ 2147483647 h 22"/>
              <a:gd name="T56" fmla="*/ 2147483647 w 26"/>
              <a:gd name="T57" fmla="*/ 2147483647 h 22"/>
              <a:gd name="T58" fmla="*/ 2147483647 w 26"/>
              <a:gd name="T59" fmla="*/ 2147483647 h 22"/>
              <a:gd name="T60" fmla="*/ 2147483647 w 26"/>
              <a:gd name="T61" fmla="*/ 2147483647 h 22"/>
              <a:gd name="T62" fmla="*/ 2147483647 w 26"/>
              <a:gd name="T63" fmla="*/ 2147483647 h 22"/>
              <a:gd name="T64" fmla="*/ 2147483647 w 26"/>
              <a:gd name="T65" fmla="*/ 2147483647 h 22"/>
              <a:gd name="T66" fmla="*/ 2147483647 w 26"/>
              <a:gd name="T67" fmla="*/ 2147483647 h 22"/>
              <a:gd name="T68" fmla="*/ 2147483647 w 26"/>
              <a:gd name="T69" fmla="*/ 2147483647 h 22"/>
              <a:gd name="T70" fmla="*/ 2147483647 w 26"/>
              <a:gd name="T71" fmla="*/ 2147483647 h 22"/>
              <a:gd name="T72" fmla="*/ 2147483647 w 26"/>
              <a:gd name="T73" fmla="*/ 2147483647 h 22"/>
              <a:gd name="T74" fmla="*/ 2147483647 w 26"/>
              <a:gd name="T75" fmla="*/ 2147483647 h 22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6"/>
              <a:gd name="T115" fmla="*/ 0 h 22"/>
              <a:gd name="T116" fmla="*/ 26 w 26"/>
              <a:gd name="T117" fmla="*/ 22 h 22"/>
              <a:gd name="connsiteX0" fmla="*/ 8846 w 10000"/>
              <a:gd name="connsiteY0" fmla="*/ 7273 h 10000"/>
              <a:gd name="connsiteX1" fmla="*/ 10000 w 10000"/>
              <a:gd name="connsiteY1" fmla="*/ 5000 h 10000"/>
              <a:gd name="connsiteX2" fmla="*/ 9231 w 10000"/>
              <a:gd name="connsiteY2" fmla="*/ 4091 h 10000"/>
              <a:gd name="connsiteX3" fmla="*/ 7692 w 10000"/>
              <a:gd name="connsiteY3" fmla="*/ 4091 h 10000"/>
              <a:gd name="connsiteX4" fmla="*/ 6538 w 10000"/>
              <a:gd name="connsiteY4" fmla="*/ 3182 h 10000"/>
              <a:gd name="connsiteX5" fmla="*/ 5769 w 10000"/>
              <a:gd name="connsiteY5" fmla="*/ 1818 h 10000"/>
              <a:gd name="connsiteX6" fmla="*/ 6923 w 10000"/>
              <a:gd name="connsiteY6" fmla="*/ 1364 h 10000"/>
              <a:gd name="connsiteX7" fmla="*/ 7308 w 10000"/>
              <a:gd name="connsiteY7" fmla="*/ 2727 h 10000"/>
              <a:gd name="connsiteX8" fmla="*/ 8077 w 10000"/>
              <a:gd name="connsiteY8" fmla="*/ 3182 h 10000"/>
              <a:gd name="connsiteX9" fmla="*/ 9615 w 10000"/>
              <a:gd name="connsiteY9" fmla="*/ 3636 h 10000"/>
              <a:gd name="connsiteX10" fmla="*/ 10000 w 10000"/>
              <a:gd name="connsiteY10" fmla="*/ 2273 h 10000"/>
              <a:gd name="connsiteX11" fmla="*/ 9615 w 10000"/>
              <a:gd name="connsiteY11" fmla="*/ 909 h 10000"/>
              <a:gd name="connsiteX12" fmla="*/ 9231 w 10000"/>
              <a:gd name="connsiteY12" fmla="*/ 0 h 10000"/>
              <a:gd name="connsiteX13" fmla="*/ 6923 w 10000"/>
              <a:gd name="connsiteY13" fmla="*/ 0 h 10000"/>
              <a:gd name="connsiteX14" fmla="*/ 5769 w 10000"/>
              <a:gd name="connsiteY14" fmla="*/ 909 h 10000"/>
              <a:gd name="connsiteX15" fmla="*/ 5000 w 10000"/>
              <a:gd name="connsiteY15" fmla="*/ 909 h 10000"/>
              <a:gd name="connsiteX16" fmla="*/ 4615 w 10000"/>
              <a:gd name="connsiteY16" fmla="*/ 455 h 10000"/>
              <a:gd name="connsiteX17" fmla="*/ 3462 w 10000"/>
              <a:gd name="connsiteY17" fmla="*/ 455 h 10000"/>
              <a:gd name="connsiteX18" fmla="*/ 3462 w 10000"/>
              <a:gd name="connsiteY18" fmla="*/ 1364 h 10000"/>
              <a:gd name="connsiteX19" fmla="*/ 4231 w 10000"/>
              <a:gd name="connsiteY19" fmla="*/ 2273 h 10000"/>
              <a:gd name="connsiteX20" fmla="*/ 5000 w 10000"/>
              <a:gd name="connsiteY20" fmla="*/ 3636 h 10000"/>
              <a:gd name="connsiteX21" fmla="*/ 1443 w 10000"/>
              <a:gd name="connsiteY21" fmla="*/ 455 h 10000"/>
              <a:gd name="connsiteX22" fmla="*/ 3077 w 10000"/>
              <a:gd name="connsiteY22" fmla="*/ 3182 h 10000"/>
              <a:gd name="connsiteX23" fmla="*/ 3077 w 10000"/>
              <a:gd name="connsiteY23" fmla="*/ 2273 h 10000"/>
              <a:gd name="connsiteX24" fmla="*/ 385 w 10000"/>
              <a:gd name="connsiteY24" fmla="*/ 2273 h 10000"/>
              <a:gd name="connsiteX25" fmla="*/ 0 w 10000"/>
              <a:gd name="connsiteY25" fmla="*/ 3636 h 10000"/>
              <a:gd name="connsiteX26" fmla="*/ 0 w 10000"/>
              <a:gd name="connsiteY26" fmla="*/ 5455 h 10000"/>
              <a:gd name="connsiteX27" fmla="*/ 769 w 10000"/>
              <a:gd name="connsiteY27" fmla="*/ 6818 h 10000"/>
              <a:gd name="connsiteX28" fmla="*/ 1538 w 10000"/>
              <a:gd name="connsiteY28" fmla="*/ 8636 h 10000"/>
              <a:gd name="connsiteX29" fmla="*/ 2308 w 10000"/>
              <a:gd name="connsiteY29" fmla="*/ 10000 h 10000"/>
              <a:gd name="connsiteX30" fmla="*/ 4231 w 10000"/>
              <a:gd name="connsiteY30" fmla="*/ 9545 h 10000"/>
              <a:gd name="connsiteX31" fmla="*/ 5385 w 10000"/>
              <a:gd name="connsiteY31" fmla="*/ 9545 h 10000"/>
              <a:gd name="connsiteX32" fmla="*/ 5769 w 10000"/>
              <a:gd name="connsiteY32" fmla="*/ 8636 h 10000"/>
              <a:gd name="connsiteX33" fmla="*/ 5769 w 10000"/>
              <a:gd name="connsiteY33" fmla="*/ 7727 h 10000"/>
              <a:gd name="connsiteX34" fmla="*/ 6923 w 10000"/>
              <a:gd name="connsiteY34" fmla="*/ 8182 h 10000"/>
              <a:gd name="connsiteX35" fmla="*/ 7308 w 10000"/>
              <a:gd name="connsiteY35" fmla="*/ 6818 h 10000"/>
              <a:gd name="connsiteX36" fmla="*/ 8077 w 10000"/>
              <a:gd name="connsiteY36" fmla="*/ 6818 h 10000"/>
              <a:gd name="connsiteX37" fmla="*/ 8846 w 10000"/>
              <a:gd name="connsiteY37" fmla="*/ 7273 h 10000"/>
              <a:gd name="connsiteX0" fmla="*/ 8846 w 10000"/>
              <a:gd name="connsiteY0" fmla="*/ 8485 h 11212"/>
              <a:gd name="connsiteX1" fmla="*/ 10000 w 10000"/>
              <a:gd name="connsiteY1" fmla="*/ 6212 h 11212"/>
              <a:gd name="connsiteX2" fmla="*/ 9231 w 10000"/>
              <a:gd name="connsiteY2" fmla="*/ 5303 h 11212"/>
              <a:gd name="connsiteX3" fmla="*/ 7692 w 10000"/>
              <a:gd name="connsiteY3" fmla="*/ 5303 h 11212"/>
              <a:gd name="connsiteX4" fmla="*/ 6538 w 10000"/>
              <a:gd name="connsiteY4" fmla="*/ 4394 h 11212"/>
              <a:gd name="connsiteX5" fmla="*/ 5769 w 10000"/>
              <a:gd name="connsiteY5" fmla="*/ 3030 h 11212"/>
              <a:gd name="connsiteX6" fmla="*/ 6923 w 10000"/>
              <a:gd name="connsiteY6" fmla="*/ 2576 h 11212"/>
              <a:gd name="connsiteX7" fmla="*/ 7308 w 10000"/>
              <a:gd name="connsiteY7" fmla="*/ 3939 h 11212"/>
              <a:gd name="connsiteX8" fmla="*/ 8077 w 10000"/>
              <a:gd name="connsiteY8" fmla="*/ 4394 h 11212"/>
              <a:gd name="connsiteX9" fmla="*/ 9615 w 10000"/>
              <a:gd name="connsiteY9" fmla="*/ 4848 h 11212"/>
              <a:gd name="connsiteX10" fmla="*/ 10000 w 10000"/>
              <a:gd name="connsiteY10" fmla="*/ 3485 h 11212"/>
              <a:gd name="connsiteX11" fmla="*/ 9615 w 10000"/>
              <a:gd name="connsiteY11" fmla="*/ 2121 h 11212"/>
              <a:gd name="connsiteX12" fmla="*/ 9231 w 10000"/>
              <a:gd name="connsiteY12" fmla="*/ 1212 h 11212"/>
              <a:gd name="connsiteX13" fmla="*/ 6923 w 10000"/>
              <a:gd name="connsiteY13" fmla="*/ 1212 h 11212"/>
              <a:gd name="connsiteX14" fmla="*/ 5769 w 10000"/>
              <a:gd name="connsiteY14" fmla="*/ 2121 h 11212"/>
              <a:gd name="connsiteX15" fmla="*/ 5000 w 10000"/>
              <a:gd name="connsiteY15" fmla="*/ 2121 h 11212"/>
              <a:gd name="connsiteX16" fmla="*/ 4615 w 10000"/>
              <a:gd name="connsiteY16" fmla="*/ 1667 h 11212"/>
              <a:gd name="connsiteX17" fmla="*/ 3462 w 10000"/>
              <a:gd name="connsiteY17" fmla="*/ 1667 h 11212"/>
              <a:gd name="connsiteX18" fmla="*/ 3462 w 10000"/>
              <a:gd name="connsiteY18" fmla="*/ 2576 h 11212"/>
              <a:gd name="connsiteX19" fmla="*/ 4231 w 10000"/>
              <a:gd name="connsiteY19" fmla="*/ 3485 h 11212"/>
              <a:gd name="connsiteX20" fmla="*/ 5000 w 10000"/>
              <a:gd name="connsiteY20" fmla="*/ 4848 h 11212"/>
              <a:gd name="connsiteX21" fmla="*/ 1489 w 10000"/>
              <a:gd name="connsiteY21" fmla="*/ 0 h 11212"/>
              <a:gd name="connsiteX22" fmla="*/ 1443 w 10000"/>
              <a:gd name="connsiteY22" fmla="*/ 1667 h 11212"/>
              <a:gd name="connsiteX23" fmla="*/ 3077 w 10000"/>
              <a:gd name="connsiteY23" fmla="*/ 4394 h 11212"/>
              <a:gd name="connsiteX24" fmla="*/ 3077 w 10000"/>
              <a:gd name="connsiteY24" fmla="*/ 3485 h 11212"/>
              <a:gd name="connsiteX25" fmla="*/ 385 w 10000"/>
              <a:gd name="connsiteY25" fmla="*/ 3485 h 11212"/>
              <a:gd name="connsiteX26" fmla="*/ 0 w 10000"/>
              <a:gd name="connsiteY26" fmla="*/ 4848 h 11212"/>
              <a:gd name="connsiteX27" fmla="*/ 0 w 10000"/>
              <a:gd name="connsiteY27" fmla="*/ 6667 h 11212"/>
              <a:gd name="connsiteX28" fmla="*/ 769 w 10000"/>
              <a:gd name="connsiteY28" fmla="*/ 8030 h 11212"/>
              <a:gd name="connsiteX29" fmla="*/ 1538 w 10000"/>
              <a:gd name="connsiteY29" fmla="*/ 9848 h 11212"/>
              <a:gd name="connsiteX30" fmla="*/ 2308 w 10000"/>
              <a:gd name="connsiteY30" fmla="*/ 11212 h 11212"/>
              <a:gd name="connsiteX31" fmla="*/ 4231 w 10000"/>
              <a:gd name="connsiteY31" fmla="*/ 10757 h 11212"/>
              <a:gd name="connsiteX32" fmla="*/ 5385 w 10000"/>
              <a:gd name="connsiteY32" fmla="*/ 10757 h 11212"/>
              <a:gd name="connsiteX33" fmla="*/ 5769 w 10000"/>
              <a:gd name="connsiteY33" fmla="*/ 9848 h 11212"/>
              <a:gd name="connsiteX34" fmla="*/ 5769 w 10000"/>
              <a:gd name="connsiteY34" fmla="*/ 8939 h 11212"/>
              <a:gd name="connsiteX35" fmla="*/ 6923 w 10000"/>
              <a:gd name="connsiteY35" fmla="*/ 9394 h 11212"/>
              <a:gd name="connsiteX36" fmla="*/ 7308 w 10000"/>
              <a:gd name="connsiteY36" fmla="*/ 8030 h 11212"/>
              <a:gd name="connsiteX37" fmla="*/ 8077 w 10000"/>
              <a:gd name="connsiteY37" fmla="*/ 8030 h 11212"/>
              <a:gd name="connsiteX38" fmla="*/ 8846 w 10000"/>
              <a:gd name="connsiteY38" fmla="*/ 8485 h 11212"/>
              <a:gd name="connsiteX0" fmla="*/ 9904 w 11058"/>
              <a:gd name="connsiteY0" fmla="*/ 8485 h 11212"/>
              <a:gd name="connsiteX1" fmla="*/ 11058 w 11058"/>
              <a:gd name="connsiteY1" fmla="*/ 6212 h 11212"/>
              <a:gd name="connsiteX2" fmla="*/ 10289 w 11058"/>
              <a:gd name="connsiteY2" fmla="*/ 5303 h 11212"/>
              <a:gd name="connsiteX3" fmla="*/ 8750 w 11058"/>
              <a:gd name="connsiteY3" fmla="*/ 5303 h 11212"/>
              <a:gd name="connsiteX4" fmla="*/ 7596 w 11058"/>
              <a:gd name="connsiteY4" fmla="*/ 4394 h 11212"/>
              <a:gd name="connsiteX5" fmla="*/ 6827 w 11058"/>
              <a:gd name="connsiteY5" fmla="*/ 3030 h 11212"/>
              <a:gd name="connsiteX6" fmla="*/ 7981 w 11058"/>
              <a:gd name="connsiteY6" fmla="*/ 2576 h 11212"/>
              <a:gd name="connsiteX7" fmla="*/ 8366 w 11058"/>
              <a:gd name="connsiteY7" fmla="*/ 3939 h 11212"/>
              <a:gd name="connsiteX8" fmla="*/ 9135 w 11058"/>
              <a:gd name="connsiteY8" fmla="*/ 4394 h 11212"/>
              <a:gd name="connsiteX9" fmla="*/ 10673 w 11058"/>
              <a:gd name="connsiteY9" fmla="*/ 4848 h 11212"/>
              <a:gd name="connsiteX10" fmla="*/ 11058 w 11058"/>
              <a:gd name="connsiteY10" fmla="*/ 3485 h 11212"/>
              <a:gd name="connsiteX11" fmla="*/ 10673 w 11058"/>
              <a:gd name="connsiteY11" fmla="*/ 2121 h 11212"/>
              <a:gd name="connsiteX12" fmla="*/ 10289 w 11058"/>
              <a:gd name="connsiteY12" fmla="*/ 1212 h 11212"/>
              <a:gd name="connsiteX13" fmla="*/ 7981 w 11058"/>
              <a:gd name="connsiteY13" fmla="*/ 1212 h 11212"/>
              <a:gd name="connsiteX14" fmla="*/ 6827 w 11058"/>
              <a:gd name="connsiteY14" fmla="*/ 2121 h 11212"/>
              <a:gd name="connsiteX15" fmla="*/ 6058 w 11058"/>
              <a:gd name="connsiteY15" fmla="*/ 2121 h 11212"/>
              <a:gd name="connsiteX16" fmla="*/ 5673 w 11058"/>
              <a:gd name="connsiteY16" fmla="*/ 1667 h 11212"/>
              <a:gd name="connsiteX17" fmla="*/ 4520 w 11058"/>
              <a:gd name="connsiteY17" fmla="*/ 1667 h 11212"/>
              <a:gd name="connsiteX18" fmla="*/ 4520 w 11058"/>
              <a:gd name="connsiteY18" fmla="*/ 2576 h 11212"/>
              <a:gd name="connsiteX19" fmla="*/ 5289 w 11058"/>
              <a:gd name="connsiteY19" fmla="*/ 3485 h 11212"/>
              <a:gd name="connsiteX20" fmla="*/ 6058 w 11058"/>
              <a:gd name="connsiteY20" fmla="*/ 4848 h 11212"/>
              <a:gd name="connsiteX21" fmla="*/ 2547 w 11058"/>
              <a:gd name="connsiteY21" fmla="*/ 0 h 11212"/>
              <a:gd name="connsiteX22" fmla="*/ 2501 w 11058"/>
              <a:gd name="connsiteY22" fmla="*/ 1667 h 11212"/>
              <a:gd name="connsiteX23" fmla="*/ 0 w 11058"/>
              <a:gd name="connsiteY23" fmla="*/ 1553 h 11212"/>
              <a:gd name="connsiteX24" fmla="*/ 4135 w 11058"/>
              <a:gd name="connsiteY24" fmla="*/ 3485 h 11212"/>
              <a:gd name="connsiteX25" fmla="*/ 1443 w 11058"/>
              <a:gd name="connsiteY25" fmla="*/ 3485 h 11212"/>
              <a:gd name="connsiteX26" fmla="*/ 1058 w 11058"/>
              <a:gd name="connsiteY26" fmla="*/ 4848 h 11212"/>
              <a:gd name="connsiteX27" fmla="*/ 1058 w 11058"/>
              <a:gd name="connsiteY27" fmla="*/ 6667 h 11212"/>
              <a:gd name="connsiteX28" fmla="*/ 1827 w 11058"/>
              <a:gd name="connsiteY28" fmla="*/ 8030 h 11212"/>
              <a:gd name="connsiteX29" fmla="*/ 2596 w 11058"/>
              <a:gd name="connsiteY29" fmla="*/ 9848 h 11212"/>
              <a:gd name="connsiteX30" fmla="*/ 3366 w 11058"/>
              <a:gd name="connsiteY30" fmla="*/ 11212 h 11212"/>
              <a:gd name="connsiteX31" fmla="*/ 5289 w 11058"/>
              <a:gd name="connsiteY31" fmla="*/ 10757 h 11212"/>
              <a:gd name="connsiteX32" fmla="*/ 6443 w 11058"/>
              <a:gd name="connsiteY32" fmla="*/ 10757 h 11212"/>
              <a:gd name="connsiteX33" fmla="*/ 6827 w 11058"/>
              <a:gd name="connsiteY33" fmla="*/ 9848 h 11212"/>
              <a:gd name="connsiteX34" fmla="*/ 6827 w 11058"/>
              <a:gd name="connsiteY34" fmla="*/ 8939 h 11212"/>
              <a:gd name="connsiteX35" fmla="*/ 7981 w 11058"/>
              <a:gd name="connsiteY35" fmla="*/ 9394 h 11212"/>
              <a:gd name="connsiteX36" fmla="*/ 8366 w 11058"/>
              <a:gd name="connsiteY36" fmla="*/ 8030 h 11212"/>
              <a:gd name="connsiteX37" fmla="*/ 9135 w 11058"/>
              <a:gd name="connsiteY37" fmla="*/ 8030 h 11212"/>
              <a:gd name="connsiteX38" fmla="*/ 9904 w 11058"/>
              <a:gd name="connsiteY38" fmla="*/ 8485 h 11212"/>
              <a:gd name="connsiteX0" fmla="*/ 9904 w 11058"/>
              <a:gd name="connsiteY0" fmla="*/ 8485 h 11212"/>
              <a:gd name="connsiteX1" fmla="*/ 11058 w 11058"/>
              <a:gd name="connsiteY1" fmla="*/ 6212 h 11212"/>
              <a:gd name="connsiteX2" fmla="*/ 10289 w 11058"/>
              <a:gd name="connsiteY2" fmla="*/ 5303 h 11212"/>
              <a:gd name="connsiteX3" fmla="*/ 8750 w 11058"/>
              <a:gd name="connsiteY3" fmla="*/ 5303 h 11212"/>
              <a:gd name="connsiteX4" fmla="*/ 7596 w 11058"/>
              <a:gd name="connsiteY4" fmla="*/ 4394 h 11212"/>
              <a:gd name="connsiteX5" fmla="*/ 6827 w 11058"/>
              <a:gd name="connsiteY5" fmla="*/ 3030 h 11212"/>
              <a:gd name="connsiteX6" fmla="*/ 7981 w 11058"/>
              <a:gd name="connsiteY6" fmla="*/ 2576 h 11212"/>
              <a:gd name="connsiteX7" fmla="*/ 8366 w 11058"/>
              <a:gd name="connsiteY7" fmla="*/ 3939 h 11212"/>
              <a:gd name="connsiteX8" fmla="*/ 9135 w 11058"/>
              <a:gd name="connsiteY8" fmla="*/ 4394 h 11212"/>
              <a:gd name="connsiteX9" fmla="*/ 10673 w 11058"/>
              <a:gd name="connsiteY9" fmla="*/ 4848 h 11212"/>
              <a:gd name="connsiteX10" fmla="*/ 11058 w 11058"/>
              <a:gd name="connsiteY10" fmla="*/ 3485 h 11212"/>
              <a:gd name="connsiteX11" fmla="*/ 10673 w 11058"/>
              <a:gd name="connsiteY11" fmla="*/ 2121 h 11212"/>
              <a:gd name="connsiteX12" fmla="*/ 10289 w 11058"/>
              <a:gd name="connsiteY12" fmla="*/ 1212 h 11212"/>
              <a:gd name="connsiteX13" fmla="*/ 7981 w 11058"/>
              <a:gd name="connsiteY13" fmla="*/ 1212 h 11212"/>
              <a:gd name="connsiteX14" fmla="*/ 6827 w 11058"/>
              <a:gd name="connsiteY14" fmla="*/ 2121 h 11212"/>
              <a:gd name="connsiteX15" fmla="*/ 6058 w 11058"/>
              <a:gd name="connsiteY15" fmla="*/ 2121 h 11212"/>
              <a:gd name="connsiteX16" fmla="*/ 5673 w 11058"/>
              <a:gd name="connsiteY16" fmla="*/ 1667 h 11212"/>
              <a:gd name="connsiteX17" fmla="*/ 4520 w 11058"/>
              <a:gd name="connsiteY17" fmla="*/ 1667 h 11212"/>
              <a:gd name="connsiteX18" fmla="*/ 4520 w 11058"/>
              <a:gd name="connsiteY18" fmla="*/ 2576 h 11212"/>
              <a:gd name="connsiteX19" fmla="*/ 5289 w 11058"/>
              <a:gd name="connsiteY19" fmla="*/ 3485 h 11212"/>
              <a:gd name="connsiteX20" fmla="*/ 6058 w 11058"/>
              <a:gd name="connsiteY20" fmla="*/ 4848 h 11212"/>
              <a:gd name="connsiteX21" fmla="*/ 2547 w 11058"/>
              <a:gd name="connsiteY21" fmla="*/ 0 h 11212"/>
              <a:gd name="connsiteX22" fmla="*/ 2501 w 11058"/>
              <a:gd name="connsiteY22" fmla="*/ 1667 h 11212"/>
              <a:gd name="connsiteX23" fmla="*/ 0 w 11058"/>
              <a:gd name="connsiteY23" fmla="*/ 1553 h 11212"/>
              <a:gd name="connsiteX24" fmla="*/ 97 w 11058"/>
              <a:gd name="connsiteY24" fmla="*/ 3144 h 11212"/>
              <a:gd name="connsiteX25" fmla="*/ 1443 w 11058"/>
              <a:gd name="connsiteY25" fmla="*/ 3485 h 11212"/>
              <a:gd name="connsiteX26" fmla="*/ 1058 w 11058"/>
              <a:gd name="connsiteY26" fmla="*/ 4848 h 11212"/>
              <a:gd name="connsiteX27" fmla="*/ 1058 w 11058"/>
              <a:gd name="connsiteY27" fmla="*/ 6667 h 11212"/>
              <a:gd name="connsiteX28" fmla="*/ 1827 w 11058"/>
              <a:gd name="connsiteY28" fmla="*/ 8030 h 11212"/>
              <a:gd name="connsiteX29" fmla="*/ 2596 w 11058"/>
              <a:gd name="connsiteY29" fmla="*/ 9848 h 11212"/>
              <a:gd name="connsiteX30" fmla="*/ 3366 w 11058"/>
              <a:gd name="connsiteY30" fmla="*/ 11212 h 11212"/>
              <a:gd name="connsiteX31" fmla="*/ 5289 w 11058"/>
              <a:gd name="connsiteY31" fmla="*/ 10757 h 11212"/>
              <a:gd name="connsiteX32" fmla="*/ 6443 w 11058"/>
              <a:gd name="connsiteY32" fmla="*/ 10757 h 11212"/>
              <a:gd name="connsiteX33" fmla="*/ 6827 w 11058"/>
              <a:gd name="connsiteY33" fmla="*/ 9848 h 11212"/>
              <a:gd name="connsiteX34" fmla="*/ 6827 w 11058"/>
              <a:gd name="connsiteY34" fmla="*/ 8939 h 11212"/>
              <a:gd name="connsiteX35" fmla="*/ 7981 w 11058"/>
              <a:gd name="connsiteY35" fmla="*/ 9394 h 11212"/>
              <a:gd name="connsiteX36" fmla="*/ 8366 w 11058"/>
              <a:gd name="connsiteY36" fmla="*/ 8030 h 11212"/>
              <a:gd name="connsiteX37" fmla="*/ 9135 w 11058"/>
              <a:gd name="connsiteY37" fmla="*/ 8030 h 11212"/>
              <a:gd name="connsiteX38" fmla="*/ 9904 w 11058"/>
              <a:gd name="connsiteY38" fmla="*/ 8485 h 11212"/>
              <a:gd name="connsiteX0" fmla="*/ 9904 w 11058"/>
              <a:gd name="connsiteY0" fmla="*/ 8485 h 11212"/>
              <a:gd name="connsiteX1" fmla="*/ 11058 w 11058"/>
              <a:gd name="connsiteY1" fmla="*/ 6212 h 11212"/>
              <a:gd name="connsiteX2" fmla="*/ 10289 w 11058"/>
              <a:gd name="connsiteY2" fmla="*/ 5303 h 11212"/>
              <a:gd name="connsiteX3" fmla="*/ 8750 w 11058"/>
              <a:gd name="connsiteY3" fmla="*/ 5303 h 11212"/>
              <a:gd name="connsiteX4" fmla="*/ 7596 w 11058"/>
              <a:gd name="connsiteY4" fmla="*/ 4394 h 11212"/>
              <a:gd name="connsiteX5" fmla="*/ 6827 w 11058"/>
              <a:gd name="connsiteY5" fmla="*/ 3030 h 11212"/>
              <a:gd name="connsiteX6" fmla="*/ 7981 w 11058"/>
              <a:gd name="connsiteY6" fmla="*/ 2576 h 11212"/>
              <a:gd name="connsiteX7" fmla="*/ 8366 w 11058"/>
              <a:gd name="connsiteY7" fmla="*/ 3939 h 11212"/>
              <a:gd name="connsiteX8" fmla="*/ 9135 w 11058"/>
              <a:gd name="connsiteY8" fmla="*/ 4394 h 11212"/>
              <a:gd name="connsiteX9" fmla="*/ 10673 w 11058"/>
              <a:gd name="connsiteY9" fmla="*/ 4848 h 11212"/>
              <a:gd name="connsiteX10" fmla="*/ 11058 w 11058"/>
              <a:gd name="connsiteY10" fmla="*/ 3485 h 11212"/>
              <a:gd name="connsiteX11" fmla="*/ 10673 w 11058"/>
              <a:gd name="connsiteY11" fmla="*/ 2121 h 11212"/>
              <a:gd name="connsiteX12" fmla="*/ 10289 w 11058"/>
              <a:gd name="connsiteY12" fmla="*/ 1212 h 11212"/>
              <a:gd name="connsiteX13" fmla="*/ 7981 w 11058"/>
              <a:gd name="connsiteY13" fmla="*/ 1212 h 11212"/>
              <a:gd name="connsiteX14" fmla="*/ 6827 w 11058"/>
              <a:gd name="connsiteY14" fmla="*/ 2121 h 11212"/>
              <a:gd name="connsiteX15" fmla="*/ 6058 w 11058"/>
              <a:gd name="connsiteY15" fmla="*/ 2121 h 11212"/>
              <a:gd name="connsiteX16" fmla="*/ 5673 w 11058"/>
              <a:gd name="connsiteY16" fmla="*/ 1667 h 11212"/>
              <a:gd name="connsiteX17" fmla="*/ 4520 w 11058"/>
              <a:gd name="connsiteY17" fmla="*/ 1667 h 11212"/>
              <a:gd name="connsiteX18" fmla="*/ 4520 w 11058"/>
              <a:gd name="connsiteY18" fmla="*/ 2576 h 11212"/>
              <a:gd name="connsiteX19" fmla="*/ 5289 w 11058"/>
              <a:gd name="connsiteY19" fmla="*/ 3485 h 11212"/>
              <a:gd name="connsiteX20" fmla="*/ 5193 w 11058"/>
              <a:gd name="connsiteY20" fmla="*/ 303 h 11212"/>
              <a:gd name="connsiteX21" fmla="*/ 2547 w 11058"/>
              <a:gd name="connsiteY21" fmla="*/ 0 h 11212"/>
              <a:gd name="connsiteX22" fmla="*/ 2501 w 11058"/>
              <a:gd name="connsiteY22" fmla="*/ 1667 h 11212"/>
              <a:gd name="connsiteX23" fmla="*/ 0 w 11058"/>
              <a:gd name="connsiteY23" fmla="*/ 1553 h 11212"/>
              <a:gd name="connsiteX24" fmla="*/ 97 w 11058"/>
              <a:gd name="connsiteY24" fmla="*/ 3144 h 11212"/>
              <a:gd name="connsiteX25" fmla="*/ 1443 w 11058"/>
              <a:gd name="connsiteY25" fmla="*/ 3485 h 11212"/>
              <a:gd name="connsiteX26" fmla="*/ 1058 w 11058"/>
              <a:gd name="connsiteY26" fmla="*/ 4848 h 11212"/>
              <a:gd name="connsiteX27" fmla="*/ 1058 w 11058"/>
              <a:gd name="connsiteY27" fmla="*/ 6667 h 11212"/>
              <a:gd name="connsiteX28" fmla="*/ 1827 w 11058"/>
              <a:gd name="connsiteY28" fmla="*/ 8030 h 11212"/>
              <a:gd name="connsiteX29" fmla="*/ 2596 w 11058"/>
              <a:gd name="connsiteY29" fmla="*/ 9848 h 11212"/>
              <a:gd name="connsiteX30" fmla="*/ 3366 w 11058"/>
              <a:gd name="connsiteY30" fmla="*/ 11212 h 11212"/>
              <a:gd name="connsiteX31" fmla="*/ 5289 w 11058"/>
              <a:gd name="connsiteY31" fmla="*/ 10757 h 11212"/>
              <a:gd name="connsiteX32" fmla="*/ 6443 w 11058"/>
              <a:gd name="connsiteY32" fmla="*/ 10757 h 11212"/>
              <a:gd name="connsiteX33" fmla="*/ 6827 w 11058"/>
              <a:gd name="connsiteY33" fmla="*/ 9848 h 11212"/>
              <a:gd name="connsiteX34" fmla="*/ 6827 w 11058"/>
              <a:gd name="connsiteY34" fmla="*/ 8939 h 11212"/>
              <a:gd name="connsiteX35" fmla="*/ 7981 w 11058"/>
              <a:gd name="connsiteY35" fmla="*/ 9394 h 11212"/>
              <a:gd name="connsiteX36" fmla="*/ 8366 w 11058"/>
              <a:gd name="connsiteY36" fmla="*/ 8030 h 11212"/>
              <a:gd name="connsiteX37" fmla="*/ 9135 w 11058"/>
              <a:gd name="connsiteY37" fmla="*/ 8030 h 11212"/>
              <a:gd name="connsiteX38" fmla="*/ 9904 w 11058"/>
              <a:gd name="connsiteY38" fmla="*/ 8485 h 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11058" h="11212">
                <a:moveTo>
                  <a:pt x="9904" y="8485"/>
                </a:moveTo>
                <a:lnTo>
                  <a:pt x="11058" y="6212"/>
                </a:lnTo>
                <a:lnTo>
                  <a:pt x="10289" y="5303"/>
                </a:lnTo>
                <a:lnTo>
                  <a:pt x="8750" y="5303"/>
                </a:lnTo>
                <a:lnTo>
                  <a:pt x="7596" y="4394"/>
                </a:lnTo>
                <a:lnTo>
                  <a:pt x="6827" y="3030"/>
                </a:lnTo>
                <a:lnTo>
                  <a:pt x="7981" y="2576"/>
                </a:lnTo>
                <a:lnTo>
                  <a:pt x="8366" y="3939"/>
                </a:lnTo>
                <a:lnTo>
                  <a:pt x="9135" y="4394"/>
                </a:lnTo>
                <a:lnTo>
                  <a:pt x="10673" y="4848"/>
                </a:lnTo>
                <a:lnTo>
                  <a:pt x="11058" y="3485"/>
                </a:lnTo>
                <a:cubicBezTo>
                  <a:pt x="10930" y="3030"/>
                  <a:pt x="10801" y="2576"/>
                  <a:pt x="10673" y="2121"/>
                </a:cubicBezTo>
                <a:lnTo>
                  <a:pt x="10289" y="1212"/>
                </a:lnTo>
                <a:lnTo>
                  <a:pt x="7981" y="1212"/>
                </a:lnTo>
                <a:lnTo>
                  <a:pt x="6827" y="2121"/>
                </a:lnTo>
                <a:lnTo>
                  <a:pt x="6058" y="2121"/>
                </a:lnTo>
                <a:lnTo>
                  <a:pt x="5673" y="1667"/>
                </a:lnTo>
                <a:lnTo>
                  <a:pt x="4520" y="1667"/>
                </a:lnTo>
                <a:lnTo>
                  <a:pt x="4520" y="2576"/>
                </a:lnTo>
                <a:lnTo>
                  <a:pt x="5289" y="3485"/>
                </a:lnTo>
                <a:cubicBezTo>
                  <a:pt x="5257" y="2424"/>
                  <a:pt x="5225" y="1364"/>
                  <a:pt x="5193" y="303"/>
                </a:cubicBezTo>
                <a:cubicBezTo>
                  <a:pt x="5016" y="126"/>
                  <a:pt x="2724" y="177"/>
                  <a:pt x="2547" y="0"/>
                </a:cubicBezTo>
                <a:cubicBezTo>
                  <a:pt x="2532" y="556"/>
                  <a:pt x="2516" y="1111"/>
                  <a:pt x="2501" y="1667"/>
                </a:cubicBezTo>
                <a:lnTo>
                  <a:pt x="0" y="1553"/>
                </a:lnTo>
                <a:cubicBezTo>
                  <a:pt x="32" y="2083"/>
                  <a:pt x="65" y="2614"/>
                  <a:pt x="97" y="3144"/>
                </a:cubicBezTo>
                <a:lnTo>
                  <a:pt x="1443" y="3485"/>
                </a:lnTo>
                <a:lnTo>
                  <a:pt x="1058" y="4848"/>
                </a:lnTo>
                <a:lnTo>
                  <a:pt x="1058" y="6667"/>
                </a:lnTo>
                <a:lnTo>
                  <a:pt x="1827" y="8030"/>
                </a:lnTo>
                <a:lnTo>
                  <a:pt x="2596" y="9848"/>
                </a:lnTo>
                <a:lnTo>
                  <a:pt x="3366" y="11212"/>
                </a:lnTo>
                <a:lnTo>
                  <a:pt x="5289" y="10757"/>
                </a:lnTo>
                <a:lnTo>
                  <a:pt x="6443" y="10757"/>
                </a:lnTo>
                <a:lnTo>
                  <a:pt x="6827" y="9848"/>
                </a:lnTo>
                <a:lnTo>
                  <a:pt x="6827" y="8939"/>
                </a:lnTo>
                <a:lnTo>
                  <a:pt x="7981" y="9394"/>
                </a:lnTo>
                <a:cubicBezTo>
                  <a:pt x="8109" y="8939"/>
                  <a:pt x="8238" y="8485"/>
                  <a:pt x="8366" y="8030"/>
                </a:cubicBezTo>
                <a:lnTo>
                  <a:pt x="9135" y="8030"/>
                </a:lnTo>
                <a:lnTo>
                  <a:pt x="9904" y="848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3366">
                <a:alpha val="49019"/>
              </a:srgbClr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7116939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8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-12990" y="-74513"/>
            <a:ext cx="184731" cy="307777"/>
          </a:xfrm>
          <a:prstGeom prst="rect">
            <a:avLst/>
          </a:prstGeom>
          <a:solidFill>
            <a:scrgbClr r="0" g="0" b="0"/>
          </a:solidFill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b="1" kern="0" dirty="0">
              <a:solidFill>
                <a:prstClr val="white"/>
              </a:solidFill>
              <a:latin typeface="Arial Narrow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2400" b="0" dirty="0" smtClean="0">
                <a:ea typeface="Source Sans Pro Semibold" panose="020B0603030403020204" pitchFamily="34" charset="0"/>
              </a:rPr>
              <a:t>Периметр Программы</a:t>
            </a:r>
            <a:endParaRPr lang="ru-RU" sz="2400" b="0" i="1" dirty="0"/>
          </a:p>
        </p:txBody>
      </p:sp>
      <p:pic>
        <p:nvPicPr>
          <p:cNvPr id="15" name="Picture 7" descr="C:\Documents and Settings\u5200002\Рабочий стол\МРГ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8842" y="12998"/>
            <a:ext cx="1754513" cy="978478"/>
          </a:xfrm>
          <a:prstGeom prst="rect">
            <a:avLst/>
          </a:prstGeom>
          <a:noFill/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2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2" y="1059180"/>
            <a:ext cx="12191998" cy="5257800"/>
          </a:xfrm>
          <a:prstGeom prst="rect">
            <a:avLst/>
          </a:prstGeom>
          <a:solidFill>
            <a:schemeClr val="bg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1549264431"/>
              </p:ext>
            </p:extLst>
          </p:nvPr>
        </p:nvGraphicFramePr>
        <p:xfrm>
          <a:off x="2066863" y="1231900"/>
          <a:ext cx="8128000" cy="50334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40" name="Rectangle 14"/>
          <p:cNvSpPr>
            <a:spLocks noChangeArrowheads="1"/>
          </p:cNvSpPr>
          <p:nvPr/>
        </p:nvSpPr>
        <p:spPr bwMode="auto">
          <a:xfrm>
            <a:off x="1981698" y="6476316"/>
            <a:ext cx="10125137" cy="382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Этапы реализации программы по расширению использования КПГ на собственном транспорте группы лиц</a:t>
            </a:r>
            <a:b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ООО «Газпром межрегионгаз».</a:t>
            </a:r>
          </a:p>
        </p:txBody>
      </p:sp>
    </p:spTree>
    <p:extLst>
      <p:ext uri="{BB962C8B-B14F-4D97-AF65-F5344CB8AC3E}">
        <p14:creationId xmlns:p14="http://schemas.microsoft.com/office/powerpoint/2010/main" val="4182479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77" t="2251" r="21597" b="5580"/>
          <a:stretch/>
        </p:blipFill>
        <p:spPr>
          <a:xfrm>
            <a:off x="2" y="1135626"/>
            <a:ext cx="2912804" cy="5213555"/>
          </a:xfrm>
          <a:prstGeom prst="rect">
            <a:avLst/>
          </a:prstGeom>
        </p:spPr>
      </p:pic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3836589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7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-12990" y="-74513"/>
            <a:ext cx="184731" cy="307777"/>
          </a:xfrm>
          <a:prstGeom prst="rect">
            <a:avLst/>
          </a:prstGeom>
          <a:solidFill>
            <a:scrgbClr r="0" g="0" b="0"/>
          </a:solidFill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b="1" kern="0" dirty="0">
              <a:solidFill>
                <a:prstClr val="white"/>
              </a:solidFill>
              <a:latin typeface="Arial Narrow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2400" b="0" dirty="0" smtClean="0">
                <a:ea typeface="Source Sans Pro Semibold" panose="020B0603030403020204" pitchFamily="34" charset="0"/>
              </a:rPr>
              <a:t>Факторы влияния на исполнение Программы</a:t>
            </a:r>
            <a:endParaRPr lang="ru-RU" sz="2400" b="0" i="1" dirty="0"/>
          </a:p>
        </p:txBody>
      </p:sp>
      <p:pic>
        <p:nvPicPr>
          <p:cNvPr id="15" name="Picture 7" descr="C:\Documents and Settings\u5200002\Рабочий стол\МРГ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8842" y="12998"/>
            <a:ext cx="1754513" cy="978478"/>
          </a:xfrm>
          <a:prstGeom prst="rect">
            <a:avLst/>
          </a:prstGeom>
          <a:noFill/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2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4078165063"/>
              </p:ext>
            </p:extLst>
          </p:nvPr>
        </p:nvGraphicFramePr>
        <p:xfrm>
          <a:off x="1863355" y="1533833"/>
          <a:ext cx="10365515" cy="46045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0" name="Rectangle 14"/>
          <p:cNvSpPr>
            <a:spLocks noChangeArrowheads="1"/>
          </p:cNvSpPr>
          <p:nvPr/>
        </p:nvSpPr>
        <p:spPr bwMode="auto">
          <a:xfrm>
            <a:off x="1981698" y="6476316"/>
            <a:ext cx="10125137" cy="382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Этапы реализации программы по расширению использования КПГ на собственном транспорте группы лиц</a:t>
            </a:r>
            <a:b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ООО «Газпром межрегионгаз».</a:t>
            </a:r>
          </a:p>
        </p:txBody>
      </p:sp>
    </p:spTree>
    <p:extLst>
      <p:ext uri="{BB962C8B-B14F-4D97-AF65-F5344CB8AC3E}">
        <p14:creationId xmlns:p14="http://schemas.microsoft.com/office/powerpoint/2010/main" val="3247382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1497781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82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-12990" y="-74513"/>
            <a:ext cx="184731" cy="307777"/>
          </a:xfrm>
          <a:prstGeom prst="rect">
            <a:avLst/>
          </a:prstGeom>
          <a:solidFill>
            <a:scrgbClr r="0" g="0" b="0"/>
          </a:solidFill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b="1" kern="0" dirty="0">
              <a:solidFill>
                <a:prstClr val="white"/>
              </a:solidFill>
              <a:latin typeface="Arial Narrow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5" name="Picture 7" descr="C:\Documents and Settings\u5200002\Рабочий стол\МРГ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8842" y="12998"/>
            <a:ext cx="1754513" cy="978478"/>
          </a:xfrm>
          <a:prstGeom prst="rect">
            <a:avLst/>
          </a:prstGeom>
          <a:noFill/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2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25" r="19156"/>
          <a:stretch/>
        </p:blipFill>
        <p:spPr>
          <a:xfrm>
            <a:off x="184733" y="1151493"/>
            <a:ext cx="2271251" cy="3962400"/>
          </a:xfrm>
          <a:prstGeom prst="rect">
            <a:avLst/>
          </a:prstGeom>
        </p:spPr>
      </p:pic>
      <p:sp>
        <p:nvSpPr>
          <p:cNvPr id="28" name="Заголовок 2"/>
          <p:cNvSpPr>
            <a:spLocks noGrp="1"/>
          </p:cNvSpPr>
          <p:nvPr>
            <p:ph type="ctrTitle"/>
          </p:nvPr>
        </p:nvSpPr>
        <p:spPr>
          <a:xfrm>
            <a:off x="2133600" y="85725"/>
            <a:ext cx="9867901" cy="819150"/>
          </a:xfrm>
        </p:spPr>
        <p:txBody>
          <a:bodyPr>
            <a:normAutofit/>
          </a:bodyPr>
          <a:lstStyle/>
          <a:p>
            <a:r>
              <a:rPr lang="ru-RU" sz="2400" b="0" dirty="0" smtClean="0">
                <a:ea typeface="Source Sans Pro Semibold" panose="020B0603030403020204" pitchFamily="34" charset="0"/>
              </a:rPr>
              <a:t>Требования к транспортным средствам для включения в Программу</a:t>
            </a:r>
            <a:endParaRPr lang="ru-RU" sz="2400" b="0" i="1" dirty="0"/>
          </a:p>
        </p:txBody>
      </p:sp>
      <p:graphicFrame>
        <p:nvGraphicFramePr>
          <p:cNvPr id="10" name="Схема 9"/>
          <p:cNvGraphicFramePr/>
          <p:nvPr>
            <p:extLst>
              <p:ext uri="{D42A27DB-BD31-4B8C-83A1-F6EECF244321}">
                <p14:modId xmlns:p14="http://schemas.microsoft.com/office/powerpoint/2010/main" val="3376267240"/>
              </p:ext>
            </p:extLst>
          </p:nvPr>
        </p:nvGraphicFramePr>
        <p:xfrm>
          <a:off x="2684206" y="1460091"/>
          <a:ext cx="9129251" cy="45897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1981698" y="6476316"/>
            <a:ext cx="10125137" cy="382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Этапы реализации программы по расширению использования КПГ на собственном транспорте группы лиц</a:t>
            </a:r>
            <a:b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ООО «Газпром межрегионгаз».</a:t>
            </a:r>
          </a:p>
        </p:txBody>
      </p:sp>
    </p:spTree>
    <p:extLst>
      <p:ext uri="{BB962C8B-B14F-4D97-AF65-F5344CB8AC3E}">
        <p14:creationId xmlns:p14="http://schemas.microsoft.com/office/powerpoint/2010/main" val="448462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Пятиугольник 98"/>
          <p:cNvSpPr/>
          <p:nvPr/>
        </p:nvSpPr>
        <p:spPr>
          <a:xfrm>
            <a:off x="8105573" y="5649475"/>
            <a:ext cx="2623387" cy="650204"/>
          </a:xfrm>
          <a:prstGeom prst="homePlat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одлежащих для перевода</a:t>
            </a:r>
          </a:p>
        </p:txBody>
      </p:sp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1799015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1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-12990" y="-74513"/>
            <a:ext cx="184731" cy="307777"/>
          </a:xfrm>
          <a:prstGeom prst="rect">
            <a:avLst/>
          </a:prstGeom>
          <a:solidFill>
            <a:scrgbClr r="0" g="0" b="0"/>
          </a:solidFill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b="1" kern="0" dirty="0">
              <a:solidFill>
                <a:prstClr val="white"/>
              </a:solidFill>
              <a:latin typeface="Arial Narrow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2400" b="0" dirty="0">
                <a:ea typeface="Source Sans Pro Semibold" panose="020B0603030403020204" pitchFamily="34" charset="0"/>
              </a:rPr>
              <a:t>Требования к транспортным средствам для включения в </a:t>
            </a:r>
            <a:r>
              <a:rPr lang="ru-RU" sz="2400" b="0" dirty="0" smtClean="0">
                <a:ea typeface="Source Sans Pro Semibold" panose="020B0603030403020204" pitchFamily="34" charset="0"/>
              </a:rPr>
              <a:t>Программу.</a:t>
            </a:r>
            <a:br>
              <a:rPr lang="ru-RU" sz="2400" b="0" dirty="0" smtClean="0">
                <a:ea typeface="Source Sans Pro Semibold" panose="020B0603030403020204" pitchFamily="34" charset="0"/>
              </a:rPr>
            </a:br>
            <a:r>
              <a:rPr lang="ru-RU" sz="2400" b="0" dirty="0" smtClean="0">
                <a:ea typeface="Source Sans Pro Semibold" panose="020B0603030403020204" pitchFamily="34" charset="0"/>
              </a:rPr>
              <a:t>Транспортные средства подлежащие переводу на КПГ.</a:t>
            </a:r>
            <a:endParaRPr lang="ru-RU" sz="2400" b="0" i="1" dirty="0"/>
          </a:p>
        </p:txBody>
      </p:sp>
      <p:pic>
        <p:nvPicPr>
          <p:cNvPr id="15" name="Picture 7" descr="C:\Documents and Settings\u5200002\Рабочий стол\МРГ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8842" y="12998"/>
            <a:ext cx="1754513" cy="978478"/>
          </a:xfrm>
          <a:prstGeom prst="rect">
            <a:avLst/>
          </a:prstGeom>
          <a:noFill/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2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4786056"/>
              </p:ext>
            </p:extLst>
          </p:nvPr>
        </p:nvGraphicFramePr>
        <p:xfrm>
          <a:off x="312419" y="1289492"/>
          <a:ext cx="11521440" cy="14630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17020"/>
                <a:gridCol w="2312887"/>
                <a:gridCol w="783437"/>
                <a:gridCol w="917020"/>
                <a:gridCol w="1035344"/>
                <a:gridCol w="557013"/>
                <a:gridCol w="811123"/>
                <a:gridCol w="1035344"/>
                <a:gridCol w="924415"/>
                <a:gridCol w="822730"/>
                <a:gridCol w="1405107"/>
              </a:tblGrid>
              <a:tr h="173715"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№№ п/п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Наименование</a:t>
                      </a:r>
                      <a:br>
                        <a:rPr lang="ru-RU" sz="1200" dirty="0">
                          <a:effectLst/>
                        </a:rPr>
                      </a:br>
                      <a:r>
                        <a:rPr lang="ru-RU" sz="1200" dirty="0">
                          <a:effectLst/>
                        </a:rPr>
                        <a:t>организации группы лиц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ООО «Газпром межрегионгаз»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Всего</a:t>
                      </a:r>
                      <a:br>
                        <a:rPr lang="ru-RU" sz="1200" dirty="0">
                          <a:effectLst/>
                        </a:rPr>
                      </a:br>
                      <a:r>
                        <a:rPr lang="ru-RU" sz="1200" dirty="0">
                          <a:effectLst/>
                        </a:rPr>
                        <a:t>ед. 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7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В том числе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Всего, подлежащих для перевода на КПГ, ед.</a:t>
                      </a:r>
                      <a:br>
                        <a:rPr lang="ru-RU" sz="1200">
                          <a:effectLst/>
                        </a:rPr>
                      </a:br>
                      <a:r>
                        <a:rPr lang="ru-RU" sz="1200">
                          <a:effectLst/>
                        </a:rPr>
                        <a:t>(ст.8-ст.9-ст.10)</a:t>
                      </a:r>
                      <a:endParaRPr lang="ru-RU" sz="120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7371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в собственности ед.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В том числе ед.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Всего пригодных для перевода на КПГ, ед.</a:t>
                      </a:r>
                      <a:b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(ст.4-ст.5-ст.6-ст.7)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В том числе: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5646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на КПГ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на СУГ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на ДТ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не обеспеченные ГЗИ 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марки Мерседес-</a:t>
                      </a:r>
                      <a:r>
                        <a:rPr lang="ru-RU" sz="1200" dirty="0" err="1">
                          <a:solidFill>
                            <a:schemeClr val="bg1"/>
                          </a:solidFill>
                          <a:effectLst/>
                        </a:rPr>
                        <a:t>Бенц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2552">
                <a:tc gridSpan="2"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ИТОГО ПО  ОРГАНИЗАЦИЯМ ГРУППЫ ЛИЦ ООО </a:t>
                      </a:r>
                      <a:r>
                        <a:rPr lang="ru-RU" sz="1200" dirty="0" smtClean="0">
                          <a:effectLst/>
                        </a:rPr>
                        <a:t>ГАЗПРОМ МЕЖРЕГИОНГАЗ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21 963</a:t>
                      </a:r>
                      <a:endParaRPr lang="ru-RU" sz="1800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21 487</a:t>
                      </a:r>
                      <a:endParaRPr lang="ru-RU" sz="1800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1 663</a:t>
                      </a:r>
                      <a:endParaRPr lang="ru-RU" sz="1800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5 100</a:t>
                      </a:r>
                      <a:endParaRPr lang="ru-RU" sz="1800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4 918</a:t>
                      </a:r>
                      <a:endParaRPr lang="ru-RU" sz="1800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9 806</a:t>
                      </a:r>
                      <a:endParaRPr lang="ru-RU" sz="1800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6 371</a:t>
                      </a:r>
                      <a:endParaRPr lang="ru-RU" sz="1800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42</a:t>
                      </a:r>
                      <a:endParaRPr lang="ru-RU" sz="1800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3 317</a:t>
                      </a:r>
                      <a:endParaRPr lang="ru-RU" sz="1800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553" marR="6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28" name="Picture 3"/>
          <p:cNvPicPr/>
          <p:nvPr/>
        </p:nvPicPr>
        <p:blipFill>
          <a:blip r:embed="rId9"/>
          <a:stretch/>
        </p:blipFill>
        <p:spPr>
          <a:xfrm>
            <a:off x="379709" y="3229632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29" name="Picture 3"/>
          <p:cNvPicPr/>
          <p:nvPr/>
        </p:nvPicPr>
        <p:blipFill>
          <a:blip r:embed="rId9"/>
          <a:stretch/>
        </p:blipFill>
        <p:spPr>
          <a:xfrm>
            <a:off x="379709" y="3383454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30" name="Picture 3"/>
          <p:cNvPicPr/>
          <p:nvPr/>
        </p:nvPicPr>
        <p:blipFill>
          <a:blip r:embed="rId9"/>
          <a:stretch/>
        </p:blipFill>
        <p:spPr>
          <a:xfrm>
            <a:off x="379709" y="3562245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31" name="Picture 3"/>
          <p:cNvPicPr/>
          <p:nvPr/>
        </p:nvPicPr>
        <p:blipFill>
          <a:blip r:embed="rId9"/>
          <a:stretch/>
        </p:blipFill>
        <p:spPr>
          <a:xfrm>
            <a:off x="379709" y="3719401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32" name="Picture 3"/>
          <p:cNvPicPr/>
          <p:nvPr/>
        </p:nvPicPr>
        <p:blipFill>
          <a:blip r:embed="rId9"/>
          <a:stretch/>
        </p:blipFill>
        <p:spPr>
          <a:xfrm>
            <a:off x="379709" y="3873223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33" name="Picture 3"/>
          <p:cNvPicPr/>
          <p:nvPr/>
        </p:nvPicPr>
        <p:blipFill>
          <a:blip r:embed="rId9"/>
          <a:stretch/>
        </p:blipFill>
        <p:spPr>
          <a:xfrm>
            <a:off x="379709" y="4052014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34" name="Picture 3"/>
          <p:cNvPicPr/>
          <p:nvPr/>
        </p:nvPicPr>
        <p:blipFill>
          <a:blip r:embed="rId9"/>
          <a:stretch/>
        </p:blipFill>
        <p:spPr>
          <a:xfrm>
            <a:off x="383174" y="4225487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35" name="Picture 3"/>
          <p:cNvPicPr/>
          <p:nvPr/>
        </p:nvPicPr>
        <p:blipFill>
          <a:blip r:embed="rId9"/>
          <a:stretch/>
        </p:blipFill>
        <p:spPr>
          <a:xfrm>
            <a:off x="383174" y="4379309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36" name="Picture 3"/>
          <p:cNvPicPr/>
          <p:nvPr/>
        </p:nvPicPr>
        <p:blipFill>
          <a:blip r:embed="rId9"/>
          <a:stretch/>
        </p:blipFill>
        <p:spPr>
          <a:xfrm>
            <a:off x="383174" y="4558100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37" name="Picture 3"/>
          <p:cNvPicPr/>
          <p:nvPr/>
        </p:nvPicPr>
        <p:blipFill>
          <a:blip r:embed="rId9"/>
          <a:stretch/>
        </p:blipFill>
        <p:spPr>
          <a:xfrm>
            <a:off x="383174" y="4715256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38" name="Picture 3"/>
          <p:cNvPicPr/>
          <p:nvPr/>
        </p:nvPicPr>
        <p:blipFill>
          <a:blip r:embed="rId9"/>
          <a:stretch/>
        </p:blipFill>
        <p:spPr>
          <a:xfrm>
            <a:off x="383174" y="4869078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39" name="Picture 3"/>
          <p:cNvPicPr/>
          <p:nvPr/>
        </p:nvPicPr>
        <p:blipFill>
          <a:blip r:embed="rId9"/>
          <a:stretch/>
        </p:blipFill>
        <p:spPr>
          <a:xfrm>
            <a:off x="383174" y="5047869"/>
            <a:ext cx="751516" cy="394215"/>
          </a:xfrm>
          <a:prstGeom prst="rect">
            <a:avLst/>
          </a:prstGeom>
          <a:ln>
            <a:noFill/>
          </a:ln>
        </p:spPr>
      </p:pic>
      <p:sp>
        <p:nvSpPr>
          <p:cNvPr id="6" name="Пятиугольник 5"/>
          <p:cNvSpPr/>
          <p:nvPr/>
        </p:nvSpPr>
        <p:spPr>
          <a:xfrm>
            <a:off x="1264230" y="3237252"/>
            <a:ext cx="2669775" cy="573006"/>
          </a:xfrm>
          <a:prstGeom prst="homePlat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В аренде у третьих лиц</a:t>
            </a:r>
            <a:endParaRPr lang="ru-RU" dirty="0"/>
          </a:p>
        </p:txBody>
      </p:sp>
      <p:pic>
        <p:nvPicPr>
          <p:cNvPr id="47" name="Picture 3"/>
          <p:cNvPicPr/>
          <p:nvPr/>
        </p:nvPicPr>
        <p:blipFill>
          <a:blip r:embed="rId9"/>
          <a:stretch/>
        </p:blipFill>
        <p:spPr>
          <a:xfrm>
            <a:off x="383174" y="5200269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48" name="Picture 3"/>
          <p:cNvPicPr/>
          <p:nvPr/>
        </p:nvPicPr>
        <p:blipFill>
          <a:blip r:embed="rId9"/>
          <a:stretch/>
        </p:blipFill>
        <p:spPr>
          <a:xfrm>
            <a:off x="383174" y="5379060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49" name="Picture 3"/>
          <p:cNvPicPr/>
          <p:nvPr/>
        </p:nvPicPr>
        <p:blipFill>
          <a:blip r:embed="rId9"/>
          <a:stretch/>
        </p:blipFill>
        <p:spPr>
          <a:xfrm>
            <a:off x="383174" y="5536216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50" name="Picture 3"/>
          <p:cNvPicPr/>
          <p:nvPr/>
        </p:nvPicPr>
        <p:blipFill>
          <a:blip r:embed="rId9"/>
          <a:stretch/>
        </p:blipFill>
        <p:spPr>
          <a:xfrm>
            <a:off x="383174" y="5690038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51" name="Picture 3"/>
          <p:cNvPicPr/>
          <p:nvPr/>
        </p:nvPicPr>
        <p:blipFill>
          <a:blip r:embed="rId9"/>
          <a:stretch/>
        </p:blipFill>
        <p:spPr>
          <a:xfrm>
            <a:off x="383174" y="5868829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52" name="Picture 3"/>
          <p:cNvPicPr/>
          <p:nvPr/>
        </p:nvPicPr>
        <p:blipFill>
          <a:blip r:embed="rId9"/>
          <a:stretch/>
        </p:blipFill>
        <p:spPr>
          <a:xfrm>
            <a:off x="2062312" y="3750645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53" name="Picture 3"/>
          <p:cNvPicPr/>
          <p:nvPr/>
        </p:nvPicPr>
        <p:blipFill>
          <a:blip r:embed="rId9"/>
          <a:stretch/>
        </p:blipFill>
        <p:spPr>
          <a:xfrm>
            <a:off x="2062312" y="3904467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54" name="Picture 3"/>
          <p:cNvPicPr/>
          <p:nvPr/>
        </p:nvPicPr>
        <p:blipFill>
          <a:blip r:embed="rId9"/>
          <a:stretch/>
        </p:blipFill>
        <p:spPr>
          <a:xfrm>
            <a:off x="2062312" y="4083258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55" name="Picture 3"/>
          <p:cNvPicPr/>
          <p:nvPr/>
        </p:nvPicPr>
        <p:blipFill>
          <a:blip r:embed="rId9"/>
          <a:stretch/>
        </p:blipFill>
        <p:spPr>
          <a:xfrm>
            <a:off x="2062312" y="4240414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56" name="Picture 3"/>
          <p:cNvPicPr/>
          <p:nvPr/>
        </p:nvPicPr>
        <p:blipFill>
          <a:blip r:embed="rId9"/>
          <a:stretch/>
        </p:blipFill>
        <p:spPr>
          <a:xfrm>
            <a:off x="2062312" y="4394236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57" name="Picture 3"/>
          <p:cNvPicPr/>
          <p:nvPr/>
        </p:nvPicPr>
        <p:blipFill>
          <a:blip r:embed="rId9"/>
          <a:stretch/>
        </p:blipFill>
        <p:spPr>
          <a:xfrm>
            <a:off x="2062312" y="4573027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58" name="Picture 3"/>
          <p:cNvPicPr/>
          <p:nvPr/>
        </p:nvPicPr>
        <p:blipFill>
          <a:blip r:embed="rId9"/>
          <a:stretch/>
        </p:blipFill>
        <p:spPr>
          <a:xfrm>
            <a:off x="2065777" y="4746500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59" name="Picture 3"/>
          <p:cNvPicPr/>
          <p:nvPr/>
        </p:nvPicPr>
        <p:blipFill>
          <a:blip r:embed="rId9"/>
          <a:stretch/>
        </p:blipFill>
        <p:spPr>
          <a:xfrm>
            <a:off x="2065777" y="4900322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60" name="Picture 3"/>
          <p:cNvPicPr/>
          <p:nvPr/>
        </p:nvPicPr>
        <p:blipFill>
          <a:blip r:embed="rId9"/>
          <a:stretch/>
        </p:blipFill>
        <p:spPr>
          <a:xfrm>
            <a:off x="2065777" y="5079113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61" name="Picture 3"/>
          <p:cNvPicPr/>
          <p:nvPr/>
        </p:nvPicPr>
        <p:blipFill>
          <a:blip r:embed="rId9"/>
          <a:stretch/>
        </p:blipFill>
        <p:spPr>
          <a:xfrm>
            <a:off x="2065777" y="5236269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62" name="Picture 3"/>
          <p:cNvPicPr/>
          <p:nvPr/>
        </p:nvPicPr>
        <p:blipFill>
          <a:blip r:embed="rId9"/>
          <a:stretch/>
        </p:blipFill>
        <p:spPr>
          <a:xfrm>
            <a:off x="2062312" y="5366707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63" name="Picture 3"/>
          <p:cNvPicPr/>
          <p:nvPr/>
        </p:nvPicPr>
        <p:blipFill>
          <a:blip r:embed="rId9"/>
          <a:stretch/>
        </p:blipFill>
        <p:spPr>
          <a:xfrm>
            <a:off x="2062312" y="5545498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64" name="Picture 3"/>
          <p:cNvPicPr/>
          <p:nvPr/>
        </p:nvPicPr>
        <p:blipFill>
          <a:blip r:embed="rId9"/>
          <a:stretch/>
        </p:blipFill>
        <p:spPr>
          <a:xfrm>
            <a:off x="2062312" y="5697898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65" name="Picture 3"/>
          <p:cNvPicPr/>
          <p:nvPr/>
        </p:nvPicPr>
        <p:blipFill>
          <a:blip r:embed="rId9"/>
          <a:stretch/>
        </p:blipFill>
        <p:spPr>
          <a:xfrm>
            <a:off x="2062312" y="5876689"/>
            <a:ext cx="751516" cy="394215"/>
          </a:xfrm>
          <a:prstGeom prst="rect">
            <a:avLst/>
          </a:prstGeom>
          <a:ln>
            <a:noFill/>
          </a:ln>
        </p:spPr>
      </p:pic>
      <p:sp>
        <p:nvSpPr>
          <p:cNvPr id="66" name="Пятиугольник 65"/>
          <p:cNvSpPr/>
          <p:nvPr/>
        </p:nvSpPr>
        <p:spPr>
          <a:xfrm>
            <a:off x="2949007" y="3815994"/>
            <a:ext cx="2469570" cy="573006"/>
          </a:xfrm>
          <a:prstGeom prst="homePlat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 smtClean="0"/>
              <a:t>   на КПГ</a:t>
            </a:r>
            <a:endParaRPr lang="ru-RU" dirty="0"/>
          </a:p>
        </p:txBody>
      </p:sp>
      <p:pic>
        <p:nvPicPr>
          <p:cNvPr id="67" name="Picture 3"/>
          <p:cNvPicPr/>
          <p:nvPr/>
        </p:nvPicPr>
        <p:blipFill>
          <a:blip r:embed="rId9"/>
          <a:stretch/>
        </p:blipFill>
        <p:spPr>
          <a:xfrm>
            <a:off x="3769192" y="4388479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68" name="Picture 3"/>
          <p:cNvPicPr/>
          <p:nvPr/>
        </p:nvPicPr>
        <p:blipFill>
          <a:blip r:embed="rId9"/>
          <a:stretch/>
        </p:blipFill>
        <p:spPr>
          <a:xfrm>
            <a:off x="3769192" y="4542301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69" name="Picture 3"/>
          <p:cNvPicPr/>
          <p:nvPr/>
        </p:nvPicPr>
        <p:blipFill>
          <a:blip r:embed="rId9"/>
          <a:stretch/>
        </p:blipFill>
        <p:spPr>
          <a:xfrm>
            <a:off x="3769192" y="4721092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70" name="Picture 3"/>
          <p:cNvPicPr/>
          <p:nvPr/>
        </p:nvPicPr>
        <p:blipFill>
          <a:blip r:embed="rId9"/>
          <a:stretch/>
        </p:blipFill>
        <p:spPr>
          <a:xfrm>
            <a:off x="3769192" y="4878248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71" name="Picture 3"/>
          <p:cNvPicPr/>
          <p:nvPr/>
        </p:nvPicPr>
        <p:blipFill>
          <a:blip r:embed="rId9"/>
          <a:stretch/>
        </p:blipFill>
        <p:spPr>
          <a:xfrm>
            <a:off x="3769192" y="5032070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72" name="Picture 3"/>
          <p:cNvPicPr/>
          <p:nvPr/>
        </p:nvPicPr>
        <p:blipFill>
          <a:blip r:embed="rId9"/>
          <a:stretch/>
        </p:blipFill>
        <p:spPr>
          <a:xfrm>
            <a:off x="3769192" y="5210861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73" name="Picture 3"/>
          <p:cNvPicPr/>
          <p:nvPr/>
        </p:nvPicPr>
        <p:blipFill>
          <a:blip r:embed="rId9"/>
          <a:stretch/>
        </p:blipFill>
        <p:spPr>
          <a:xfrm>
            <a:off x="3772657" y="5384334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74" name="Picture 3"/>
          <p:cNvPicPr/>
          <p:nvPr/>
        </p:nvPicPr>
        <p:blipFill>
          <a:blip r:embed="rId9"/>
          <a:stretch/>
        </p:blipFill>
        <p:spPr>
          <a:xfrm>
            <a:off x="3772657" y="5538156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75" name="Picture 3"/>
          <p:cNvPicPr/>
          <p:nvPr/>
        </p:nvPicPr>
        <p:blipFill>
          <a:blip r:embed="rId9"/>
          <a:stretch/>
        </p:blipFill>
        <p:spPr>
          <a:xfrm>
            <a:off x="3772657" y="5716947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76" name="Picture 3"/>
          <p:cNvPicPr/>
          <p:nvPr/>
        </p:nvPicPr>
        <p:blipFill>
          <a:blip r:embed="rId9"/>
          <a:stretch/>
        </p:blipFill>
        <p:spPr>
          <a:xfrm>
            <a:off x="3772657" y="5874103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213001" name="Picture 9" descr="ÐÐ°ÑÑÐ¸Ð½ÐºÐ¸ Ð¿Ð¾ Ð·Ð°Ð¿ÑÐ¾ÑÑ Ð³Ð¾ÑÑÑÐ¸Ð¹ ÐºÑÐ°ÑÐ½ÑÐ¹ ÑÐ²ÐµÑÐ¾ÑÐ¾Ñ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630" b="22917"/>
          <a:stretch/>
        </p:blipFill>
        <p:spPr bwMode="auto">
          <a:xfrm>
            <a:off x="1287090" y="3272509"/>
            <a:ext cx="212579" cy="502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9" descr="ÐÐ°ÑÑÐ¸Ð½ÐºÐ¸ Ð¿Ð¾ Ð·Ð°Ð¿ÑÐ¾ÑÑ Ð³Ð¾ÑÑÑÐ¸Ð¹ ÐºÑÐ°ÑÐ½ÑÐ¹ ÑÐ²ÐµÑÐ¾ÑÐ¾Ñ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630" b="22917"/>
          <a:stretch/>
        </p:blipFill>
        <p:spPr bwMode="auto">
          <a:xfrm>
            <a:off x="2977322" y="3855100"/>
            <a:ext cx="212579" cy="502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Пятиугольник 78"/>
          <p:cNvSpPr/>
          <p:nvPr/>
        </p:nvSpPr>
        <p:spPr>
          <a:xfrm>
            <a:off x="4623233" y="4399853"/>
            <a:ext cx="2507670" cy="573006"/>
          </a:xfrm>
          <a:prstGeom prst="homePlat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на СУГ и ДТ</a:t>
            </a:r>
            <a:endParaRPr lang="ru-RU" dirty="0"/>
          </a:p>
        </p:txBody>
      </p:sp>
      <p:pic>
        <p:nvPicPr>
          <p:cNvPr id="80" name="Picture 9" descr="ÐÐ°ÑÑÐ¸Ð½ÐºÐ¸ Ð¿Ð¾ Ð·Ð°Ð¿ÑÐ¾ÑÑ Ð³Ð¾ÑÑÑÐ¸Ð¹ ÐºÑÐ°ÑÐ½ÑÐ¹ ÑÐ²ÐµÑÐ¾ÑÐ¾Ñ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630" b="22917"/>
          <a:stretch/>
        </p:blipFill>
        <p:spPr bwMode="auto">
          <a:xfrm>
            <a:off x="4680047" y="4436673"/>
            <a:ext cx="212579" cy="502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3"/>
          <p:cNvPicPr/>
          <p:nvPr/>
        </p:nvPicPr>
        <p:blipFill>
          <a:blip r:embed="rId9"/>
          <a:stretch/>
        </p:blipFill>
        <p:spPr>
          <a:xfrm>
            <a:off x="5521792" y="4884624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82" name="Picture 3"/>
          <p:cNvPicPr/>
          <p:nvPr/>
        </p:nvPicPr>
        <p:blipFill>
          <a:blip r:embed="rId9"/>
          <a:stretch/>
        </p:blipFill>
        <p:spPr>
          <a:xfrm>
            <a:off x="5521792" y="5038446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83" name="Picture 3"/>
          <p:cNvPicPr/>
          <p:nvPr/>
        </p:nvPicPr>
        <p:blipFill>
          <a:blip r:embed="rId9"/>
          <a:stretch/>
        </p:blipFill>
        <p:spPr>
          <a:xfrm>
            <a:off x="5521792" y="5217237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84" name="Picture 3"/>
          <p:cNvPicPr/>
          <p:nvPr/>
        </p:nvPicPr>
        <p:blipFill>
          <a:blip r:embed="rId9"/>
          <a:stretch/>
        </p:blipFill>
        <p:spPr>
          <a:xfrm>
            <a:off x="5521792" y="5374393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85" name="Picture 3"/>
          <p:cNvPicPr/>
          <p:nvPr/>
        </p:nvPicPr>
        <p:blipFill>
          <a:blip r:embed="rId9"/>
          <a:stretch/>
        </p:blipFill>
        <p:spPr>
          <a:xfrm>
            <a:off x="5521792" y="5528215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86" name="Picture 3"/>
          <p:cNvPicPr/>
          <p:nvPr/>
        </p:nvPicPr>
        <p:blipFill>
          <a:blip r:embed="rId9"/>
          <a:stretch/>
        </p:blipFill>
        <p:spPr>
          <a:xfrm>
            <a:off x="5521792" y="5707006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87" name="Picture 3"/>
          <p:cNvPicPr/>
          <p:nvPr/>
        </p:nvPicPr>
        <p:blipFill>
          <a:blip r:embed="rId9"/>
          <a:stretch/>
        </p:blipFill>
        <p:spPr>
          <a:xfrm>
            <a:off x="5525257" y="5880479"/>
            <a:ext cx="751516" cy="394215"/>
          </a:xfrm>
          <a:prstGeom prst="rect">
            <a:avLst/>
          </a:prstGeom>
          <a:ln>
            <a:noFill/>
          </a:ln>
        </p:spPr>
      </p:pic>
      <p:sp>
        <p:nvSpPr>
          <p:cNvPr id="88" name="Пятиугольник 87"/>
          <p:cNvSpPr/>
          <p:nvPr/>
        </p:nvSpPr>
        <p:spPr>
          <a:xfrm>
            <a:off x="6337733" y="4983150"/>
            <a:ext cx="2623387" cy="650204"/>
          </a:xfrm>
          <a:prstGeom prst="homePlat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err="1" smtClean="0"/>
              <a:t>Необеспеченые</a:t>
            </a:r>
            <a:r>
              <a:rPr lang="ru-RU" dirty="0" smtClean="0"/>
              <a:t> ГЗИ</a:t>
            </a:r>
          </a:p>
        </p:txBody>
      </p:sp>
      <p:pic>
        <p:nvPicPr>
          <p:cNvPr id="89" name="Picture 9" descr="ÐÐ°ÑÑÐ¸Ð½ÐºÐ¸ Ð¿Ð¾ Ð·Ð°Ð¿ÑÐ¾ÑÑ Ð³Ð¾ÑÑÑÐ¸Ð¹ ÐºÑÐ°ÑÐ½ÑÐ¹ ÑÐ²ÐµÑÐ¾ÑÐ¾Ñ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95" r="26412" b="22917"/>
          <a:stretch/>
        </p:blipFill>
        <p:spPr bwMode="auto">
          <a:xfrm>
            <a:off x="8168640" y="5740449"/>
            <a:ext cx="220980" cy="495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3"/>
          <p:cNvPicPr/>
          <p:nvPr/>
        </p:nvPicPr>
        <p:blipFill>
          <a:blip r:embed="rId9"/>
          <a:stretch/>
        </p:blipFill>
        <p:spPr>
          <a:xfrm>
            <a:off x="7282012" y="5544075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94" name="Picture 3"/>
          <p:cNvPicPr/>
          <p:nvPr/>
        </p:nvPicPr>
        <p:blipFill>
          <a:blip r:embed="rId9"/>
          <a:stretch/>
        </p:blipFill>
        <p:spPr>
          <a:xfrm>
            <a:off x="7282012" y="5697897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95" name="Picture 3"/>
          <p:cNvPicPr/>
          <p:nvPr/>
        </p:nvPicPr>
        <p:blipFill>
          <a:blip r:embed="rId9"/>
          <a:stretch/>
        </p:blipFill>
        <p:spPr>
          <a:xfrm>
            <a:off x="7282012" y="5876688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98" name="Picture 9" descr="ÐÐ°ÑÑÐ¸Ð½ÐºÐ¸ Ð¿Ð¾ Ð·Ð°Ð¿ÑÐ¾ÑÑ Ð³Ð¾ÑÑÑÐ¸Ð¹ ÐºÑÐ°ÑÐ½ÑÐ¹ ÑÐ²ÐµÑÐ¾ÑÐ¾Ñ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630" b="22917"/>
          <a:stretch/>
        </p:blipFill>
        <p:spPr bwMode="auto">
          <a:xfrm>
            <a:off x="6398702" y="5050432"/>
            <a:ext cx="212579" cy="495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Rectangle 14"/>
          <p:cNvSpPr>
            <a:spLocks noChangeArrowheads="1"/>
          </p:cNvSpPr>
          <p:nvPr/>
        </p:nvSpPr>
        <p:spPr bwMode="auto">
          <a:xfrm>
            <a:off x="1981698" y="6476316"/>
            <a:ext cx="10125137" cy="382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Этапы реализации программы по расширению использования КПГ на собственном транспорте группы лиц</a:t>
            </a:r>
            <a:b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ООО «Газпром межрегионгаз».</a:t>
            </a:r>
          </a:p>
        </p:txBody>
      </p:sp>
    </p:spTree>
    <p:extLst>
      <p:ext uri="{BB962C8B-B14F-4D97-AF65-F5344CB8AC3E}">
        <p14:creationId xmlns:p14="http://schemas.microsoft.com/office/powerpoint/2010/main" val="838440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icture 43" descr="ÐÐ°ÑÑÐ¸Ð½ÐºÐ¸ Ð¿Ð¾ Ð·Ð°Ð¿ÑÐ¾ÑÑ cng tank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5556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0788" y="4881580"/>
            <a:ext cx="590700" cy="958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7" name="Схема 36"/>
          <p:cNvGraphicFramePr/>
          <p:nvPr>
            <p:extLst>
              <p:ext uri="{D42A27DB-BD31-4B8C-83A1-F6EECF244321}">
                <p14:modId xmlns:p14="http://schemas.microsoft.com/office/powerpoint/2010/main" val="375182734"/>
              </p:ext>
            </p:extLst>
          </p:nvPr>
        </p:nvGraphicFramePr>
        <p:xfrm>
          <a:off x="-1167199" y="3827204"/>
          <a:ext cx="8128000" cy="25903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0" name="Схема 9"/>
          <p:cNvGraphicFramePr/>
          <p:nvPr>
            <p:extLst>
              <p:ext uri="{D42A27DB-BD31-4B8C-83A1-F6EECF244321}">
                <p14:modId xmlns:p14="http://schemas.microsoft.com/office/powerpoint/2010/main" val="2237521281"/>
              </p:ext>
            </p:extLst>
          </p:nvPr>
        </p:nvGraphicFramePr>
        <p:xfrm>
          <a:off x="1126489" y="556341"/>
          <a:ext cx="9667568" cy="36753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3382933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96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-12990" y="-74513"/>
            <a:ext cx="184731" cy="307777"/>
          </a:xfrm>
          <a:prstGeom prst="rect">
            <a:avLst/>
          </a:prstGeom>
          <a:solidFill>
            <a:scrgbClr r="0" g="0" b="0"/>
          </a:solidFill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b="1" kern="0" dirty="0">
              <a:solidFill>
                <a:prstClr val="white"/>
              </a:solidFill>
              <a:latin typeface="Arial Narrow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2400" b="0" dirty="0" smtClean="0">
                <a:ea typeface="Source Sans Pro Semibold" panose="020B0603030403020204" pitchFamily="34" charset="0"/>
              </a:rPr>
              <a:t>Целевые показатели Программы</a:t>
            </a:r>
            <a:endParaRPr lang="ru-RU" sz="2400" b="0" i="1" dirty="0"/>
          </a:p>
        </p:txBody>
      </p:sp>
      <p:pic>
        <p:nvPicPr>
          <p:cNvPr id="15" name="Picture 7" descr="C:\Documents and Settings\u5200002\Рабочий стол\МРГ.jpg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108842" y="12998"/>
            <a:ext cx="1754513" cy="978478"/>
          </a:xfrm>
          <a:prstGeom prst="rect">
            <a:avLst/>
          </a:prstGeom>
          <a:noFill/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2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4" name="AutoShape 27" descr="ÐÐ°ÑÑÐ¸Ð½ÐºÐ¸ Ð¿Ð¾ Ð·Ð°Ð¿ÑÐ¾ÑÑ blue car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29" descr="ÐÐ¾Ð´ÐµÑÐ¶Ð°Ð½Ð½ÑÐ¹ Ð°Ð²ÑÐ¾Ð¼Ð¾Ð±Ð¸Ð»Ñ ÐÐ¾Ð¼Ð¿ÑÑÑÐµÑÐ½ÑÐµ Ð¸ÐºÐ¾Ð½ÐºÐ¸ - ÑÐ¸Ð½Ð¸Ð¹ Ð°Ð²ÑÐ¾Ð¼Ð¾Ð±Ð¸Ð»Ñ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8" name="AutoShape 34" descr="ÐÐ°ÑÑÐ¸Ð½ÐºÐ¸ Ð¿Ð¾ Ð·Ð°Ð¿ÑÐ¾ÑÑ Ð±ÐµÐ½Ð·Ð¸Ð½ Ð±Ð¾ÑÐºÐ°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9" name="AutoShape 36" descr="ÐÐ°ÑÑÐ¸Ð½ÐºÐ¸ Ð¿Ð¾ Ð·Ð°Ð¿ÑÐ¾ÑÑ Ð±ÐµÐ½Ð·Ð¸Ð½ Ð±Ð¾ÑÐºÐ°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0" name="AutoShape 38" descr="ÐÐ°ÑÑÐ¸Ð½ÐºÐ¸ Ð¿Ð¾ Ð·Ð°Ð¿ÑÐ¾ÑÑ Ð±ÐµÐ½Ð·Ð¸Ð½ Ð±Ð¾ÑÐºÐ°"/>
          <p:cNvSpPr>
            <a:spLocks noChangeAspect="1" noChangeArrowheads="1"/>
          </p:cNvSpPr>
          <p:nvPr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00744" name="Picture 40" descr="http://poliresurs.ru/image/cache/catalog/gazpromneft/bochkag-800x800.jp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0" b="100000" l="9738" r="8988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1610" y="5313684"/>
            <a:ext cx="573819" cy="573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0747" name="Picture 43" descr="ÐÐ°ÑÑÐ¸Ð½ÐºÐ¸ Ð¿Ð¾ Ð·Ð°Ð¿ÑÐ¾ÑÑ cng tank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ackgroundRemoval t="10000" b="95556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8319" y="4941880"/>
            <a:ext cx="590700" cy="958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0" descr="http://poliresurs.ru/image/cache/catalog/gazpromneft/bochkag-800x800.jp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0" b="100000" l="9738" r="8988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8326" y="5313683"/>
            <a:ext cx="573819" cy="573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0" descr="http://poliresurs.ru/image/cache/catalog/gazpromneft/bochkag-800x800.jp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0" b="100000" l="9738" r="8988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3839" y="5313682"/>
            <a:ext cx="573819" cy="573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43" descr="ÐÐ°ÑÑÐ¸Ð½ÐºÐ¸ Ð¿Ð¾ Ð·Ð°Ð¿ÑÐ¾ÑÑ cng tank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5556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9343" y="4956804"/>
            <a:ext cx="590700" cy="958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3" name="Прямая соединительная линия 52"/>
          <p:cNvCxnSpPr/>
          <p:nvPr/>
        </p:nvCxnSpPr>
        <p:spPr>
          <a:xfrm flipH="1">
            <a:off x="2735819" y="4132344"/>
            <a:ext cx="331840" cy="884903"/>
          </a:xfrm>
          <a:prstGeom prst="line">
            <a:avLst/>
          </a:prstGeom>
          <a:ln w="76200">
            <a:solidFill>
              <a:schemeClr val="tx2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aphicFrame>
        <p:nvGraphicFramePr>
          <p:cNvPr id="59" name="Схема 58"/>
          <p:cNvGraphicFramePr/>
          <p:nvPr>
            <p:extLst>
              <p:ext uri="{D42A27DB-BD31-4B8C-83A1-F6EECF244321}">
                <p14:modId xmlns:p14="http://schemas.microsoft.com/office/powerpoint/2010/main" val="1122644842"/>
              </p:ext>
            </p:extLst>
          </p:nvPr>
        </p:nvGraphicFramePr>
        <p:xfrm>
          <a:off x="4929097" y="3816956"/>
          <a:ext cx="8128000" cy="25903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5" r:lo="rId26" r:qs="rId27" r:cs="rId28"/>
          </a:graphicData>
        </a:graphic>
      </p:graphicFrame>
      <p:pic>
        <p:nvPicPr>
          <p:cNvPr id="68" name="Picture 43" descr="ÐÐ°ÑÑÐ¸Ð½ÐºÐ¸ Ð¿Ð¾ Ð·Ð°Ð¿ÑÐ¾ÑÑ cng tank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5556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1511" y="4881580"/>
            <a:ext cx="590700" cy="958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43" descr="ÐÐ°ÑÑÐ¸Ð½ÐºÐ¸ Ð¿Ð¾ Ð·Ð°Ð¿ÑÐ¾ÑÑ cng tank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5556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2747" y="4941880"/>
            <a:ext cx="590700" cy="958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43" descr="ÐÐ°ÑÑÐ¸Ð½ÐºÐ¸ Ð¿Ð¾ Ð·Ð°Ð¿ÑÐ¾ÑÑ cng tank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5556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2047" y="4995127"/>
            <a:ext cx="590700" cy="958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43" descr="ÐÐ°ÑÑÐ¸Ð½ÐºÐ¸ Ð¿Ð¾ Ð·Ð°Ð¿ÑÐ¾ÑÑ cng tank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5556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2747" y="5063301"/>
            <a:ext cx="590700" cy="958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43" descr="ÐÐ°ÑÑÐ¸Ð½ÐºÐ¸ Ð¿Ð¾ Ð·Ð°Ð¿ÑÐ¾ÑÑ cng tank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5556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3084" y="5043374"/>
            <a:ext cx="590700" cy="958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43" descr="ÐÐ°ÑÑÐ¸Ð½ÐºÐ¸ Ð¿Ð¾ Ð·Ð°Ð¿ÑÐ¾ÑÑ cng tank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5556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1523" y="5029326"/>
            <a:ext cx="590700" cy="958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6" name="Прямая соединительная линия 65"/>
          <p:cNvCxnSpPr/>
          <p:nvPr/>
        </p:nvCxnSpPr>
        <p:spPr>
          <a:xfrm flipH="1">
            <a:off x="8865899" y="4132343"/>
            <a:ext cx="331840" cy="884903"/>
          </a:xfrm>
          <a:prstGeom prst="line">
            <a:avLst/>
          </a:prstGeom>
          <a:ln w="76200">
            <a:solidFill>
              <a:schemeClr val="tx2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70" name="Picture 40" descr="http://poliresurs.ru/image/cache/catalog/gazpromneft/bochkag-800x800.jp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0" b="100000" l="9738" r="8988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2290" y="5235835"/>
            <a:ext cx="573819" cy="573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40" descr="http://poliresurs.ru/image/cache/catalog/gazpromneft/bochkag-800x800.jp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0" b="100000" l="9738" r="8988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9199" y="5277457"/>
            <a:ext cx="573819" cy="573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Стрелка вправо 57"/>
          <p:cNvSpPr/>
          <p:nvPr/>
        </p:nvSpPr>
        <p:spPr>
          <a:xfrm>
            <a:off x="4874883" y="4137080"/>
            <a:ext cx="2116394" cy="2197510"/>
          </a:xfrm>
          <a:prstGeom prst="rightArrow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5" name="Picture 3"/>
          <p:cNvPicPr/>
          <p:nvPr/>
        </p:nvPicPr>
        <p:blipFill>
          <a:blip r:embed="rId30"/>
          <a:stretch/>
        </p:blipFill>
        <p:spPr>
          <a:xfrm>
            <a:off x="3397229" y="1590567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76" name="Picture 3"/>
          <p:cNvPicPr/>
          <p:nvPr/>
        </p:nvPicPr>
        <p:blipFill>
          <a:blip r:embed="rId30"/>
          <a:stretch/>
        </p:blipFill>
        <p:spPr>
          <a:xfrm>
            <a:off x="4360790" y="1590566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77" name="Picture 3"/>
          <p:cNvPicPr/>
          <p:nvPr/>
        </p:nvPicPr>
        <p:blipFill>
          <a:blip r:embed="rId30"/>
          <a:stretch/>
        </p:blipFill>
        <p:spPr>
          <a:xfrm>
            <a:off x="5282565" y="1590772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78" name="Picture 3"/>
          <p:cNvPicPr/>
          <p:nvPr/>
        </p:nvPicPr>
        <p:blipFill>
          <a:blip r:embed="rId30"/>
          <a:stretch/>
        </p:blipFill>
        <p:spPr>
          <a:xfrm>
            <a:off x="6226462" y="1590565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84" name="Picture 3"/>
          <p:cNvPicPr/>
          <p:nvPr/>
        </p:nvPicPr>
        <p:blipFill>
          <a:blip r:embed="rId30"/>
          <a:stretch/>
        </p:blipFill>
        <p:spPr>
          <a:xfrm>
            <a:off x="3397229" y="2170516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85" name="Picture 3"/>
          <p:cNvPicPr/>
          <p:nvPr/>
        </p:nvPicPr>
        <p:blipFill>
          <a:blip r:embed="rId30"/>
          <a:stretch/>
        </p:blipFill>
        <p:spPr>
          <a:xfrm>
            <a:off x="4360790" y="2170515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86" name="Picture 3"/>
          <p:cNvPicPr/>
          <p:nvPr/>
        </p:nvPicPr>
        <p:blipFill>
          <a:blip r:embed="rId30"/>
          <a:stretch/>
        </p:blipFill>
        <p:spPr>
          <a:xfrm>
            <a:off x="5282565" y="2170721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87" name="Picture 3"/>
          <p:cNvPicPr/>
          <p:nvPr/>
        </p:nvPicPr>
        <p:blipFill>
          <a:blip r:embed="rId30"/>
          <a:stretch/>
        </p:blipFill>
        <p:spPr>
          <a:xfrm>
            <a:off x="6226462" y="2170514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88" name="Picture 3"/>
          <p:cNvPicPr/>
          <p:nvPr/>
        </p:nvPicPr>
        <p:blipFill>
          <a:blip r:embed="rId30"/>
          <a:stretch/>
        </p:blipFill>
        <p:spPr>
          <a:xfrm>
            <a:off x="3397229" y="2785499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89" name="Picture 3"/>
          <p:cNvPicPr/>
          <p:nvPr/>
        </p:nvPicPr>
        <p:blipFill>
          <a:blip r:embed="rId30"/>
          <a:stretch/>
        </p:blipFill>
        <p:spPr>
          <a:xfrm>
            <a:off x="4360790" y="2785498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90" name="Picture 3"/>
          <p:cNvPicPr/>
          <p:nvPr/>
        </p:nvPicPr>
        <p:blipFill>
          <a:blip r:embed="rId30"/>
          <a:stretch/>
        </p:blipFill>
        <p:spPr>
          <a:xfrm>
            <a:off x="5282565" y="2785704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91" name="Picture 3"/>
          <p:cNvPicPr/>
          <p:nvPr/>
        </p:nvPicPr>
        <p:blipFill>
          <a:blip r:embed="rId30"/>
          <a:stretch/>
        </p:blipFill>
        <p:spPr>
          <a:xfrm>
            <a:off x="6226462" y="2785497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92" name="Picture 3"/>
          <p:cNvPicPr/>
          <p:nvPr/>
        </p:nvPicPr>
        <p:blipFill>
          <a:blip r:embed="rId30"/>
          <a:stretch/>
        </p:blipFill>
        <p:spPr>
          <a:xfrm>
            <a:off x="7120304" y="2785499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93" name="Picture 3"/>
          <p:cNvPicPr/>
          <p:nvPr/>
        </p:nvPicPr>
        <p:blipFill>
          <a:blip r:embed="rId30"/>
          <a:stretch/>
        </p:blipFill>
        <p:spPr>
          <a:xfrm>
            <a:off x="8083865" y="2785498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94" name="Picture 3"/>
          <p:cNvPicPr/>
          <p:nvPr/>
        </p:nvPicPr>
        <p:blipFill>
          <a:blip r:embed="rId30"/>
          <a:stretch/>
        </p:blipFill>
        <p:spPr>
          <a:xfrm>
            <a:off x="9005640" y="2785704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95" name="Picture 3"/>
          <p:cNvPicPr/>
          <p:nvPr/>
        </p:nvPicPr>
        <p:blipFill>
          <a:blip r:embed="rId30"/>
          <a:stretch/>
        </p:blipFill>
        <p:spPr>
          <a:xfrm>
            <a:off x="9949537" y="2785497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96" name="Picture 3"/>
          <p:cNvPicPr/>
          <p:nvPr/>
        </p:nvPicPr>
        <p:blipFill>
          <a:blip r:embed="rId30"/>
          <a:stretch/>
        </p:blipFill>
        <p:spPr>
          <a:xfrm>
            <a:off x="7146124" y="2170721"/>
            <a:ext cx="751516" cy="394215"/>
          </a:xfrm>
          <a:prstGeom prst="rect">
            <a:avLst/>
          </a:prstGeom>
          <a:ln>
            <a:noFill/>
          </a:ln>
        </p:spPr>
      </p:pic>
      <p:pic>
        <p:nvPicPr>
          <p:cNvPr id="97" name="Picture 43" descr="ÐÐ°ÑÑÐ¸Ð½ÐºÐ¸ Ð¿Ð¾ Ð·Ð°Ð¿ÑÐ¾ÑÑ cng tank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5556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4401" y="4967026"/>
            <a:ext cx="590700" cy="958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TextBox 60"/>
          <p:cNvSpPr txBox="1"/>
          <p:nvPr/>
        </p:nvSpPr>
        <p:spPr>
          <a:xfrm>
            <a:off x="1450935" y="3554674"/>
            <a:ext cx="9166292" cy="369332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wrap="square">
            <a:spAutoFit/>
          </a:bodyPr>
          <a:lstStyle>
            <a:defPPr>
              <a:defRPr lang="ru-RU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Целевой показатель по объему потребления КПГ в общем объеме потребления моторного топлива</a:t>
            </a:r>
          </a:p>
        </p:txBody>
      </p:sp>
      <p:sp>
        <p:nvSpPr>
          <p:cNvPr id="200736" name="Пятиугольник 200735"/>
          <p:cNvSpPr/>
          <p:nvPr/>
        </p:nvSpPr>
        <p:spPr>
          <a:xfrm>
            <a:off x="108842" y="4797976"/>
            <a:ext cx="1342093" cy="766390"/>
          </a:xfrm>
          <a:prstGeom prst="homePlate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017 </a:t>
            </a:r>
            <a:r>
              <a:rPr lang="ru-RU" dirty="0"/>
              <a:t>год</a:t>
            </a:r>
          </a:p>
        </p:txBody>
      </p:sp>
      <p:sp>
        <p:nvSpPr>
          <p:cNvPr id="100" name="Пятиугольник 99"/>
          <p:cNvSpPr/>
          <p:nvPr/>
        </p:nvSpPr>
        <p:spPr>
          <a:xfrm>
            <a:off x="10617944" y="4756355"/>
            <a:ext cx="1342093" cy="766390"/>
          </a:xfrm>
          <a:prstGeom prst="homePlate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021 </a:t>
            </a:r>
            <a:r>
              <a:rPr lang="ru-RU" dirty="0"/>
              <a:t>год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1349934" y="1067113"/>
            <a:ext cx="9166292" cy="369332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wrap="square">
            <a:spAutoFit/>
          </a:bodyPr>
          <a:lstStyle>
            <a:defPPr>
              <a:defRPr lang="ru-RU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ru-RU" dirty="0"/>
              <a:t>Целевой показатель по </a:t>
            </a:r>
            <a:r>
              <a:rPr lang="ru-RU" dirty="0" smtClean="0"/>
              <a:t>количеству транспортных средств, переводимых на КПГ</a:t>
            </a:r>
            <a:endParaRPr lang="ru-RU" dirty="0"/>
          </a:p>
        </p:txBody>
      </p:sp>
      <p:sp>
        <p:nvSpPr>
          <p:cNvPr id="104" name="Прямоугольник 103"/>
          <p:cNvSpPr/>
          <p:nvPr/>
        </p:nvSpPr>
        <p:spPr>
          <a:xfrm>
            <a:off x="7146124" y="1526064"/>
            <a:ext cx="83869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2800" dirty="0"/>
              <a:t>2128</a:t>
            </a:r>
          </a:p>
        </p:txBody>
      </p:sp>
      <p:sp>
        <p:nvSpPr>
          <p:cNvPr id="105" name="Прямоугольник 104"/>
          <p:cNvSpPr/>
          <p:nvPr/>
        </p:nvSpPr>
        <p:spPr>
          <a:xfrm>
            <a:off x="8027208" y="2091265"/>
            <a:ext cx="83869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2800" dirty="0"/>
              <a:t>2582</a:t>
            </a:r>
          </a:p>
        </p:txBody>
      </p:sp>
      <p:sp>
        <p:nvSpPr>
          <p:cNvPr id="106" name="Прямоугольник 105"/>
          <p:cNvSpPr/>
          <p:nvPr/>
        </p:nvSpPr>
        <p:spPr>
          <a:xfrm>
            <a:off x="10834253" y="2720996"/>
            <a:ext cx="83869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dirty="0"/>
              <a:t>3203</a:t>
            </a:r>
          </a:p>
        </p:txBody>
      </p:sp>
      <p:sp>
        <p:nvSpPr>
          <p:cNvPr id="60" name="Rectangle 14"/>
          <p:cNvSpPr>
            <a:spLocks noChangeArrowheads="1"/>
          </p:cNvSpPr>
          <p:nvPr/>
        </p:nvSpPr>
        <p:spPr bwMode="auto">
          <a:xfrm>
            <a:off x="1981698" y="6476316"/>
            <a:ext cx="10125137" cy="382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Этапы реализации программы по расширению использования КПГ на собственном транспорте группы лиц</a:t>
            </a:r>
            <a:b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ООО «Газпром межрегионгаз».</a:t>
            </a:r>
          </a:p>
        </p:txBody>
      </p:sp>
    </p:spTree>
    <p:extLst>
      <p:ext uri="{BB962C8B-B14F-4D97-AF65-F5344CB8AC3E}">
        <p14:creationId xmlns:p14="http://schemas.microsoft.com/office/powerpoint/2010/main" val="2002891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&lt;?xml version=&quot;1.0&quot; encoding=&quot;utf-16&quot;?&gt;&#10;&lt;ArrayOfColorCatalogItem xmlns:xsd=&quot;http://www.w3.org/2001/XMLSchema&quot; xmlns:xsi=&quot;http://www.w3.org/2001/XMLSchema-instance&quot;&gt;&#10;  &lt;ColorCatalogItem&gt;&#10;    &lt;Argb&gt;-16777216&lt;/Argb&gt;&#10;    &lt;ColorType&gt;Text&lt;/ColorType&gt;&#10;    &lt;Index&gt;0&lt;/Index&gt;&#10;  &lt;/ColorCatalogItem&gt;&#10;  &lt;ColorCatalogItem&gt;&#10;    &lt;Argb&gt;-16777216&lt;/Argb&gt;&#10;    &lt;ColorType&gt;Border&lt;/ColorType&gt;&#10;    &lt;Index&gt;0&lt;/Index&gt;&#10;  &lt;/ColorCatalogItem&gt;&#10;  &lt;ColorCatalogItem&gt;&#10;    &lt;Argb&gt;-16777216&lt;/Argb&gt;&#10;    &lt;ColorType&gt;Fill&lt;/ColorType&gt;&#10;    &lt;Index&gt;0&lt;/Index&gt;&#10;  &lt;/ColorCatalogItem&gt;&#10;  &lt;ColorCatalogItem&gt;&#10;    &lt;Argb&gt;-1&lt;/Argb&gt;&#10;    &lt;ColorType&gt;Text&lt;/ColorType&gt;&#10;    &lt;Index&gt;1&lt;/Index&gt;&#10;  &lt;/ColorCatalogItem&gt;&#10;  &lt;ColorCatalogItem&gt;&#10;    &lt;Argb&gt;-1&lt;/Argb&gt;&#10;    &lt;ColorType&gt;Border&lt;/ColorType&gt;&#10;    &lt;Index&gt;1&lt;/Index&gt;&#10;  &lt;/ColorCatalogItem&gt;&#10;  &lt;ColorCatalogItem&gt;&#10;    &lt;Argb&gt;-1&lt;/Argb&gt;&#10;    &lt;ColorType&gt;Fill&lt;/ColorType&gt;&#10;    &lt;Index&gt;1&lt;/Index&gt;&#10;  &lt;/ColorCatalogItem&gt;&#10;  &lt;ColorCatalogItem&gt;&#10;    &lt;Argb&gt;-16745326&lt;/Argb&gt;&#10;    &lt;ColorType&gt;Text&lt;/ColorType&gt;&#10;    &lt;Index&gt;2&lt;/Index&gt;&#10;  &lt;/ColorCatalogItem&gt;&#10;  &lt;ColorCatalogItem&gt;&#10;    &lt;Argb&gt;-16745326&lt;/Argb&gt;&#10;    &lt;ColorType&gt;Border&lt;/ColorType&gt;&#10;    &lt;Index&gt;2&lt;/Index&gt;&#10;  &lt;/ColorCatalogItem&gt;&#10;  &lt;ColorCatalogItem&gt;&#10;    &lt;Argb&gt;-16745326&lt;/Argb&gt;&#10;    &lt;ColorType&gt;Fill&lt;/ColorType&gt;&#10;    &lt;Index&gt;2&lt;/Index&gt;&#10;  &lt;/ColorCatalogItem&gt;&#10;  &lt;ColorCatalogItem&gt;&#10;    &lt;Argb&gt;-12542547&lt;/Argb&gt;&#10;    &lt;ColorType&gt;Text&lt;/ColorType&gt;&#10;    &lt;Index&gt;3&lt;/Index&gt;&#10;  &lt;/ColorCatalogItem&gt;&#10;  &lt;ColorCatalogItem&gt;&#10;    &lt;Argb&gt;-12542547&lt;/Argb&gt;&#10;    &lt;ColorType&gt;Border&lt;/ColorType&gt;&#10;    &lt;Index&gt;3&lt;/Index&gt;&#10;  &lt;/ColorCatalogItem&gt;&#10;  &lt;ColorCatalogItem&gt;&#10;    &lt;Argb&gt;-12542547&lt;/Argb&gt;&#10;    &lt;ColorType&gt;Fill&lt;/ColorType&gt;&#10;    &lt;Index&gt;3&lt;/Index&gt;&#10;  &lt;/ColorCatalogItem&gt;&#10;  &lt;ColorCatalogItem&gt;&#10;    &lt;Argb&gt;-8339767&lt;/Argb&gt;&#10;    &lt;ColorType&gt;Text&lt;/ColorType&gt;&#10;    &lt;Index&gt;4&lt;/Index&gt;&#10;  &lt;/ColorCatalogItem&gt;&#10;  &lt;ColorCatalogItem&gt;&#10;    &lt;Argb&gt;-8339767&lt;/Argb&gt;&#10;    &lt;ColorType&gt;Border&lt;/ColorType&gt;&#10;    &lt;Index&gt;4&lt;/Index&gt;&#10;  &lt;/ColorCatalogItem&gt;&#10;  &lt;ColorCatalogItem&gt;&#10;    &lt;Argb&gt;-8339767&lt;/Argb&gt;&#10;    &lt;ColorType&gt;Fill&lt;/ColorType&gt;&#10;    &lt;Index&gt;4&lt;/Index&gt;&#10;  &lt;/ColorCatalogItem&gt;&#10;  &lt;ColorCatalogItem&gt;&#10;    &lt;Argb&gt;-4202780&lt;/Argb&gt;&#10;    &lt;ColorType&gt;Text&lt;/ColorType&gt;&#10;    &lt;Index&gt;5&lt;/Index&gt;&#10;  &lt;/ColorCatalogItem&gt;&#10;  &lt;ColorCatalogItem&gt;&#10;    &lt;Argb&gt;-4202780&lt;/Argb&gt;&#10;    &lt;ColorType&gt;Border&lt;/ColorType&gt;&#10;    &lt;Index&gt;5&lt;/Index&gt;&#10;  &lt;/ColorCatalogItem&gt;&#10;  &lt;ColorCatalogItem&gt;&#10;    &lt;Argb&gt;-4202780&lt;/Argb&gt;&#10;    &lt;ColorType&gt;Fill&lt;/ColorType&gt;&#10;    &lt;Index&gt;5&lt;/Index&gt;&#10;  &lt;/ColorCatalogItem&gt;&#10;  &lt;ColorCatalogItem&gt;&#10;    &lt;Argb&gt;-1707276&lt;/Argb&gt;&#10;    &lt;ColorType&gt;Text&lt;/ColorType&gt;&#10;    &lt;Index&gt;6&lt;/Index&gt;&#10;  &lt;/ColorCatalogItem&gt;&#10;  &lt;ColorCatalogItem&gt;&#10;    &lt;Argb&gt;-1707276&lt;/Argb&gt;&#10;    &lt;ColorType&gt;Border&lt;/ColorType&gt;&#10;    &lt;Index&gt;6&lt;/Index&gt;&#10;  &lt;/ColorCatalogItem&gt;&#10;  &lt;ColorCatalogItem&gt;&#10;    &lt;Argb&gt;-1707276&lt;/Argb&gt;&#10;    &lt;ColorType&gt;Fill&lt;/ColorType&gt;&#10;    &lt;Index&gt;6&lt;/Index&gt;&#10;  &lt;/ColorCatalogItem&gt;&#10;  &lt;ColorCatalogItem&gt;&#10;    &lt;Argb&gt;-16764019&lt;/Argb&gt;&#10;    &lt;ColorType&gt;Text&lt;/ColorType&gt;&#10;    &lt;Index&gt;7&lt;/Index&gt;&#10;  &lt;/ColorCatalogItem&gt;&#10;  &lt;ColorCatalogItem&gt;&#10;    &lt;Argb&gt;-16764019&lt;/Argb&gt;&#10;    &lt;ColorType&gt;Border&lt;/ColorType&gt;&#10;    &lt;Index&gt;7&lt;/Index&gt;&#10;  &lt;/ColorCatalogItem&gt;&#10;  &lt;ColorCatalogItem&gt;&#10;    &lt;Argb&gt;-16764019&lt;/Argb&gt;&#10;    &lt;ColorType&gt;Fill&lt;/ColorType&gt;&#10;    &lt;Index&gt;7&lt;/Index&gt;&#10;  &lt;/ColorCatalogItem&gt;&#10;  &lt;ColorCatalogItem&gt;&#10;    &lt;Argb&gt;-12556630&lt;/Argb&gt;&#10;    &lt;ColorType&gt;Text&lt;/ColorType&gt;&#10;    &lt;Index&gt;8&lt;/Index&gt;&#10;  &lt;/ColorCatalogItem&gt;&#10;  &lt;ColorCatalogItem&gt;&#10;    &lt;Argb&gt;-12556630&lt;/Argb&gt;&#10;    &lt;ColorType&gt;Border&lt;/ColorType&gt;&#10;    &lt;Index&gt;8&lt;/Index&gt;&#10;  &lt;/ColorCatalogItem&gt;&#10;  &lt;ColorCatalogItem&gt;&#10;    &lt;Argb&gt;-12556630&lt;/Argb&gt;&#10;    &lt;ColorType&gt;Fill&lt;/ColorType&gt;&#10;    &lt;Index&gt;8&lt;/Index&gt;&#10;  &lt;/ColorCatalogItem&gt;&#10;  &lt;ColorCatalogItem&gt;&#10;    &lt;Argb&gt;-8349242&lt;/Argb&gt;&#10;    &lt;ColorType&gt;Text&lt;/ColorType&gt;&#10;    &lt;Index&gt;9&lt;/Index&gt;&#10;  &lt;/ColorCatalogItem&gt;&#10;  &lt;ColorCatalogItem&gt;&#10;    &lt;Argb&gt;-8349242&lt;/Argb&gt;&#10;    &lt;ColorType&gt;Border&lt;/ColorType&gt;&#10;    &lt;Index&gt;9&lt;/Index&gt;&#10;  &lt;/ColorCatalogItem&gt;&#10;  &lt;ColorCatalogItem&gt;&#10;    &lt;Argb&gt;-8349242&lt;/Argb&gt;&#10;    &lt;ColorType&gt;Fill&lt;/ColorType&gt;&#10;    &lt;Index&gt;9&lt;/Index&gt;&#10;  &lt;/ColorCatalogItem&gt;&#10;  &lt;ColorCatalogItem&gt;&#10;    &lt;Argb&gt;-4207389&lt;/Argb&gt;&#10;    &lt;ColorType&gt;Text&lt;/ColorType&gt;&#10;    &lt;Index&gt;10&lt;/Index&gt;&#10;  &lt;/ColorCatalogItem&gt;&#10;  &lt;ColorCatalogItem&gt;&#10;    &lt;Argb&gt;-4207389&lt;/Argb&gt;&#10;    &lt;ColorType&gt;Border&lt;/ColorType&gt;&#10;    &lt;Index&gt;10&lt;/Index&gt;&#10;  &lt;/ColorCatalogItem&gt;&#10;  &lt;ColorCatalogItem&gt;&#10;    &lt;Argb&gt;-4207389&lt;/Argb&gt;&#10;    &lt;ColorType&gt;Fill&lt;/ColorType&gt;&#10;    &lt;Index&gt;10&lt;/Index&gt;&#10;  &lt;/ColorCatalogItem&gt;&#10;  &lt;ColorCatalogItem&gt;&#10;    &lt;Argb&gt;-1709325&lt;/Argb&gt;&#10;    &lt;ColorType&gt;Text&lt;/ColorType&gt;&#10;    &lt;Index&gt;11&lt;/Index&gt;&#10;  &lt;/ColorCatalogItem&gt;&#10;  &lt;ColorCatalogItem&gt;&#10;    &lt;Argb&gt;-1709325&lt;/Argb&gt;&#10;    &lt;ColorType&gt;Border&lt;/ColorType&gt;&#10;    &lt;Index&gt;11&lt;/Index&gt;&#10;  &lt;/ColorCatalogItem&gt;&#10;  &lt;ColorCatalogItem&gt;&#10;    &lt;Argb&gt;-1709325&lt;/Argb&gt;&#10;    &lt;ColorType&gt;Fill&lt;/ColorType&gt;&#10;    &lt;Index&gt;11&lt;/Index&gt;&#10;  &lt;/ColorCatalogItem&gt;&#10;  &lt;ColorCatalogItem&gt;&#10;    &lt;Argb&gt;-9144712&lt;/Argb&gt;&#10;    &lt;ColorType&gt;Text&lt;/ColorType&gt;&#10;    &lt;Index&gt;12&lt;/Index&gt;&#10;  &lt;/ColorCatalogItem&gt;&#10;  &lt;ColorCatalogItem&gt;&#10;    &lt;Argb&gt;-9144712&lt;/Argb&gt;&#10;    &lt;ColorType&gt;Border&lt;/ColorType&gt;&#10;    &lt;Index&gt;12&lt;/Index&gt;&#10;  &lt;/ColorCatalogItem&gt;&#10;  &lt;ColorCatalogItem&gt;&#10;    &lt;Argb&gt;-9144712&lt;/Argb&gt;&#10;    &lt;ColorType&gt;Fill&lt;/ColorType&gt;&#10;    &lt;Index&gt;12&lt;/Index&gt;&#10;  &lt;/ColorCatalogItem&gt;&#10;  &lt;ColorCatalogItem&gt;&#10;    &lt;Argb&gt;-6842214&lt;/Argb&gt;&#10;    &lt;ColorType&gt;Text&lt;/ColorType&gt;&#10;    &lt;Index&gt;13&lt;/Index&gt;&#10;  &lt;/ColorCatalogItem&gt;&#10;  &lt;ColorCatalogItem&gt;&#10;    &lt;Argb&gt;-6842214&lt;/Argb&gt;&#10;    &lt;ColorType&gt;Border&lt;/ColorType&gt;&#10;    &lt;Index&gt;13&lt;/Index&gt;&#10;  &lt;/ColorCatalogItem&gt;&#10;  &lt;ColorCatalogItem&gt;&#10;    &lt;Argb&gt;-6842214&lt;/Argb&gt;&#10;    &lt;ColorType&gt;Fill&lt;/ColorType&gt;&#10;    &lt;Index&gt;13&lt;/Index&gt;&#10;  &lt;/ColorCatalogItem&gt;&#10;  &lt;ColorCatalogItem&gt;&#10;    &lt;Argb&gt;-4539460&lt;/Argb&gt;&#10;    &lt;ColorType&gt;Text&lt;/ColorType&gt;&#10;    &lt;Index&gt;14&lt;/Index&gt;&#10;  &lt;/ColorCatalogItem&gt;&#10;  &lt;ColorCatalogItem&gt;&#10;    &lt;Argb&gt;-4539460&lt;/Argb&gt;&#10;    &lt;ColorType&gt;Border&lt;/ColorType&gt;&#10;    &lt;Index&gt;14&lt;/Index&gt;&#10;  &lt;/ColorCatalogItem&gt;&#10;  &lt;ColorCatalogItem&gt;&#10;    &lt;Argb&gt;-4539460&lt;/Argb&gt;&#10;    &lt;ColorType&gt;Fill&lt;/ColorType&gt;&#10;    &lt;Index&gt;14&lt;/Index&gt;&#10;  &lt;/ColorCatalogItem&gt;&#10;  &lt;ColorCatalogItem&gt;&#10;    &lt;Argb&gt;-2302499&lt;/Argb&gt;&#10;    &lt;ColorType&gt;Text&lt;/ColorType&gt;&#10;    &lt;Index&gt;15&lt;/Index&gt;&#10;  &lt;/ColorCatalogItem&gt;&#10;  &lt;ColorCatalogItem&gt;&#10;    &lt;Argb&gt;-2302499&lt;/Argb&gt;&#10;    &lt;ColorType&gt;Border&lt;/ColorType&gt;&#10;    &lt;Index&gt;15&lt;/Index&gt;&#10;  &lt;/ColorCatalogItem&gt;&#10;  &lt;ColorCatalogItem&gt;&#10;    &lt;Argb&gt;-2302499&lt;/Argb&gt;&#10;    &lt;ColorType&gt;Fill&lt;/ColorType&gt;&#10;    &lt;Index&gt;15&lt;/Index&gt;&#10;  &lt;/ColorCatalogItem&gt;&#10;  &lt;ColorCatalogItem&gt;&#10;    &lt;Argb&gt;-921103&lt;/Argb&gt;&#10;    &lt;ColorType&gt;Text&lt;/ColorType&gt;&#10;    &lt;Index&gt;16&lt;/Index&gt;&#10;  &lt;/ColorCatalogItem&gt;&#10;  &lt;ColorCatalogItem&gt;&#10;    &lt;Argb&gt;-921103&lt;/Argb&gt;&#10;    &lt;ColorType&gt;Border&lt;/ColorType&gt;&#10;    &lt;Index&gt;16&lt;/Index&gt;&#10;  &lt;/ColorCatalogItem&gt;&#10;  &lt;ColorCatalogItem&gt;&#10;    &lt;Argb&gt;-921103&lt;/Argb&gt;&#10;    &lt;ColorType&gt;Fill&lt;/ColorType&gt;&#10;    &lt;Index&gt;16&lt;/Index&gt;&#10;  &lt;/ColorCatalogItem&gt;&#10;  &lt;ColorCatalogItem&gt;&#10;    &lt;Argb&gt;-6764822&lt;/Argb&gt;&#10;    &lt;ColorType&gt;Text&lt;/ColorType&gt;&#10;    &lt;Index&gt;17&lt;/Index&gt;&#10;  &lt;/ColorCatalogItem&gt;&#10;  &lt;ColorCatalogItem&gt;&#10;    &lt;Argb&gt;-6764822&lt;/Argb&gt;&#10;    &lt;ColorType&gt;Border&lt;/ColorType&gt;&#10;    &lt;Index&gt;17&lt;/Index&gt;&#10;  &lt;/ColorCatalogItem&gt;&#10;  &lt;ColorCatalogItem&gt;&#10;    &lt;Argb&gt;-6764822&lt;/Argb&gt;&#10;    &lt;ColorType&gt;Fill&lt;/ColorType&gt;&#10;    &lt;Index&gt;17&lt;/Index&gt;&#10;  &lt;/ColorCatalogItem&gt;&#10;  &lt;ColorCatalogItem&gt;&#10;    &lt;Argb&gt;-5057297&lt;/Argb&gt;&#10;    &lt;ColorType&gt;Text&lt;/ColorType&gt;&#10;    &lt;Index&gt;18&lt;/Index&gt;&#10;  &lt;/ColorCatalogItem&gt;&#10;  &lt;ColorCatalogItem&gt;&#10;    &lt;Argb&gt;-5057297&lt;/Argb&gt;&#10;    &lt;ColorType&gt;Border&lt;/ColorType&gt;&#10;    &lt;Index&gt;18&lt;/Index&gt;&#10;  &lt;/ColorCatalogItem&gt;&#10;  &lt;ColorCatalogItem&gt;&#10;    &lt;Argb&gt;-5057297&lt;/Argb&gt;&#10;    &lt;ColorType&gt;Fill&lt;/ColorType&gt;&#10;    &lt;Index&gt;18&lt;/Index&gt;&#10;  &lt;/ColorCatalogItem&gt;&#10;  &lt;ColorCatalogItem&gt;&#10;    &lt;Argb&gt;-3349516&lt;/Argb&gt;&#10;    &lt;ColorType&gt;Text&lt;/ColorType&gt;&#10;    &lt;Index&gt;19&lt;/Index&gt;&#10;  &lt;/ColorCatalogItem&gt;&#10;  &lt;ColorCatalogItem&gt;&#10;    &lt;Argb&gt;-3349516&lt;/Argb&gt;&#10;    &lt;ColorType&gt;Border&lt;/ColorType&gt;&#10;    &lt;Index&gt;19&lt;/Index&gt;&#10;  &lt;/ColorCatalogItem&gt;&#10;  &lt;ColorCatalogItem&gt;&#10;    &lt;Argb&gt;-3349516&lt;/Argb&gt;&#10;    &lt;ColorType&gt;Fill&lt;/ColorType&gt;&#10;    &lt;Index&gt;19&lt;/Index&gt;&#10;  &lt;/ColorCatalogItem&gt;&#10;  &lt;ColorCatalogItem&gt;&#10;    &lt;Argb&gt;-1707526&lt;/Argb&gt;&#10;    &lt;ColorType&gt;Text&lt;/ColorType&gt;&#10;    &lt;Index&gt;20&lt;/Index&gt;&#10;  &lt;/ColorCatalogItem&gt;&#10;  &lt;ColorCatalogItem&gt;&#10;    &lt;Argb&gt;-1707526&lt;/Argb&gt;&#10;    &lt;ColorType&gt;Border&lt;/ColorType&gt;&#10;    &lt;Index&gt;20&lt;/Index&gt;&#10;  &lt;/ColorCatalogItem&gt;&#10;  &lt;ColorCatalogItem&gt;&#10;    &lt;Argb&gt;-1707526&lt;/Argb&gt;&#10;    &lt;ColorType&gt;Fill&lt;/ColorType&gt;&#10;    &lt;Index&gt;20&lt;/Index&gt;&#10;  &lt;/ColorCatalogItem&gt;&#10;  &lt;ColorCatalogItem&gt;&#10;    &lt;Argb&gt;-722435&lt;/Argb&gt;&#10;    &lt;ColorType&gt;Text&lt;/ColorType&gt;&#10;    &lt;Index&gt;21&lt;/Index&gt;&#10;  &lt;/ColorCatalogItem&gt;&#10;  &lt;ColorCatalogItem&gt;&#10;    &lt;Argb&gt;-722435&lt;/Argb&gt;&#10;    &lt;ColorType&gt;Border&lt;/ColorType&gt;&#10;    &lt;Index&gt;21&lt;/Index&gt;&#10;  &lt;/ColorCatalogItem&gt;&#10;  &lt;ColorCatalogItem&gt;&#10;    &lt;Argb&gt;-722435&lt;/Argb&gt;&#10;    &lt;ColorType&gt;Fill&lt;/ColorType&gt;&#10;    &lt;Index&gt;21&lt;/Index&gt;&#10;  &lt;/ColorCatalogItem&gt;&#10;  &lt;ColorCatalogItem&gt;&#10;    &lt;Argb&gt;-6410183&lt;/Argb&gt;&#10;    &lt;ColorType&gt;Text&lt;/ColorType&gt;&#10;    &lt;Index&gt;22&lt;/Index&gt;&#10;  &lt;/ColorCatalogItem&gt;&#10;  &lt;ColorCatalogItem&gt;&#10;    &lt;Argb&gt;-6410183&lt;/Argb&gt;&#10;    &lt;ColorType&gt;Border&lt;/ColorType&gt;&#10;    &lt;Index&gt;22&lt;/Index&gt;&#10;  &lt;/ColorCatalogItem&gt;&#10;  &lt;ColorCatalogItem&gt;&#10;    &lt;Argb&gt;-6410183&lt;/Argb&gt;&#10;    &lt;ColorType&gt;Fill&lt;/ColorType&gt;&#10;    &lt;Index&gt;22&lt;/Index&gt;&#10;  &lt;/ColorCatalogItem&gt;&#10;  &lt;ColorCatalogItem&gt;&#10;    &lt;Argb&gt;-4823957&lt;/Argb&gt;&#10;    &lt;ColorType&gt;Text&lt;/ColorType&gt;&#10;    &lt;Index&gt;23&lt;/Index&gt;&#10;  &lt;/ColorCatalogItem&gt;&#10;  &lt;ColorCatalogItem&gt;&#10;    &lt;Argb&gt;-4823957&lt;/Argb&gt;&#10;    &lt;ColorType&gt;Border&lt;/ColorType&gt;&#10;    &lt;Index&gt;23&lt;/Index&gt;&#10;  &lt;/ColorCatalogItem&gt;&#10;  &lt;ColorCatalogItem&gt;&#10;    &lt;Argb&gt;-4823957&lt;/Argb&gt;&#10;    &lt;ColorType&gt;Fill&lt;/ColorType&gt;&#10;    &lt;Index&gt;23&lt;/Index&gt;&#10;  &lt;/ColorCatalogItem&gt;&#10;  &lt;ColorCatalogItem&gt;&#10;    &lt;Argb&gt;-3172196&lt;/Argb&gt;&#10;    &lt;ColorType&gt;Text&lt;/ColorType&gt;&#10;    &lt;Index&gt;24&lt;/Index&gt;&#10;  &lt;/ColorCatalogItem&gt;&#10;  &lt;ColorCatalogItem&gt;&#10;    &lt;Argb&gt;-3172196&lt;/Argb&gt;&#10;    &lt;ColorType&gt;Border&lt;/ColorType&gt;&#10;    &lt;Index&gt;24&lt;/Index&gt;&#10;  &lt;/ColorCatalogItem&gt;&#10;  &lt;ColorCatalogItem&gt;&#10;    &lt;Argb&gt;-3172196&lt;/Argb&gt;&#10;    &lt;ColorType&gt;Fill&lt;/ColorType&gt;&#10;    &lt;Index&gt;24&lt;/Index&gt;&#10;  &lt;/ColorCatalogItem&gt;&#10;  &lt;ColorCatalogItem&gt;&#10;    &lt;Argb&gt;-1586226&lt;/Argb&gt;&#10;    &lt;ColorType&gt;Text&lt;/ColorType&gt;&#10;    &lt;Index&gt;25&lt;/Index&gt;&#10;  &lt;/ColorCatalogItem&gt;&#10;  &lt;ColorCatalogItem&gt;&#10;    &lt;Argb&gt;-1586226&lt;/Argb&gt;&#10;    &lt;ColorType&gt;Border&lt;/ColorType&gt;&#10;    &lt;Index&gt;25&lt;/Index&gt;&#10;  &lt;/ColorCatalogItem&gt;&#10;  &lt;ColorCatalogItem&gt;&#10;    &lt;Argb&gt;-1586226&lt;/Argb&gt;&#10;    &lt;ColorType&gt;Fill&lt;/ColorType&gt;&#10;    &lt;Index&gt;25&lt;/Index&gt;&#10;  &lt;/ColorCatalogItem&gt;&#10;  &lt;ColorCatalogItem&gt;&#10;    &lt;Argb&gt;-660757&lt;/Argb&gt;&#10;    &lt;ColorType&gt;Text&lt;/ColorType&gt;&#10;    &lt;Index&gt;26&lt;/Index&gt;&#10;  &lt;/ColorCatalogItem&gt;&#10;  &lt;ColorCatalogItem&gt;&#10;    &lt;Argb&gt;-660757&lt;/Argb&gt;&#10;    &lt;ColorType&gt;Border&lt;/ColorType&gt;&#10;    &lt;Index&gt;26&lt;/Index&gt;&#10;  &lt;/ColorCatalogItem&gt;&#10;  &lt;ColorCatalogItem&gt;&#10;    &lt;Argb&gt;-660757&lt;/Argb&gt;&#10;    &lt;ColorType&gt;Fill&lt;/ColorType&gt;&#10;    &lt;Index&gt;26&lt;/Index&gt;&#10;  &lt;/ColorCatalogItem&gt;&#10;&lt;/ArrayOfColorCatalogItem&gt;"/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8&quot;&gt;&lt;elem m_fUsage=&quot;4.32548320159198770000E+000&quot;&gt;&lt;m_msothmcolidx val=&quot;0&quot;/&gt;&lt;m_rgb r=&quot;93&quot; g=&quot;95&quot; b=&quot;98&quot;/&gt;&lt;m_nBrightness val=&quot;0&quot;/&gt;&lt;/elem&gt;&lt;elem m_fUsage=&quot;3.53781519637955940000E+000&quot;&gt;&lt;m_msothmcolidx val=&quot;0&quot;/&gt;&lt;m_rgb r=&quot;1A&quot; g=&quot;7C&quot; b=&quot;C3&quot;/&gt;&lt;m_nBrightness val=&quot;0&quot;/&gt;&lt;/elem&gt;&lt;elem m_fUsage=&quot;1.18446475319162750000E+000&quot;&gt;&lt;m_msothmcolidx val=&quot;0&quot;/&gt;&lt;m_rgb r=&quot;A3&quot; g=&quot;46&quot; b=&quot;3F&quot;/&gt;&lt;m_nBrightness val=&quot;0&quot;/&gt;&lt;/elem&gt;&lt;elem m_fUsage=&quot;5.04907398628802630000E-001&quot;&gt;&lt;m_msothmcolidx val=&quot;0&quot;/&gt;&lt;m_rgb r=&quot;B7&quot; g=&quot;DC&quot; b=&quot;F3&quot;/&gt;&lt;m_nBrightness val=&quot;0&quot;/&gt;&lt;/elem&gt;&lt;elem m_fUsage=&quot;1.82214340659873850000E-001&quot;&gt;&lt;m_msothmcolidx val=&quot;0&quot;/&gt;&lt;m_rgb r=&quot;0D&quot; g=&quot;B0&quot; b=&quot;E9&quot;/&gt;&lt;m_nBrightness val=&quot;0&quot;/&gt;&lt;/elem&gt;&lt;elem m_fUsage=&quot;1.57370578638830640000E-001&quot;&gt;&lt;m_msothmcolidx val=&quot;0&quot;/&gt;&lt;m_rgb r=&quot;19&quot; g=&quot;AA&quot; b=&quot;9E&quot;/&gt;&lt;m_nBrightness val=&quot;0&quot;/&gt;&lt;/elem&gt;&lt;elem m_fUsage=&quot;5.22531675477282060000E-002&quot;&gt;&lt;m_msothmcolidx val=&quot;0&quot;/&gt;&lt;m_rgb r=&quot;00&quot; g=&quot;7D&quot; b=&quot;C5&quot;/&gt;&lt;m_nBrightness val=&quot;0&quot;/&gt;&lt;/elem&gt;&lt;elem m_fUsage=&quot;4.23911582752162440000E-002&quot;&gt;&lt;m_msothmcolidx val=&quot;0&quot;/&gt;&lt;m_rgb r=&quot;DB&quot; g=&quot;DC&quot; b=&quot;DD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G33FOITQ2xAXquwCLU.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G33FOITQ2xAXquwCLU.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G33FOITQ2xAXquwCLU.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G33FOITQ2xAXquwCLU.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G33FOITQ2xAXquwCLU.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G33FOITQ2xAXquwCLU.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G33FOITQ2xAXquwCLU.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G33FOITQ2xAXquwCLU.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G33FOITQ2xAXquwCLU.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G33FOITQ2xAXquwCLU.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G33FOITQ2xAXquwCLU.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G33FOITQ2xAXquwCLU.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G33FOITQ2xAXquwCLU.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G33FOITQ2xAXquwCLU.w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 Narrow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 ГППБ.potx" id="{7A0CE3DA-E662-42B5-A5D7-7F4440D94C2B}" vid="{57FA065B-0C81-47B4-9A14-CBA05E1352C8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599</TotalTime>
  <Words>931</Words>
  <Application>Microsoft Office PowerPoint</Application>
  <PresentationFormat>Произвольный</PresentationFormat>
  <Paragraphs>148</Paragraphs>
  <Slides>15</Slides>
  <Notes>1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7" baseType="lpstr">
      <vt:lpstr>1_Тема Office</vt:lpstr>
      <vt:lpstr>think-cell Slide</vt:lpstr>
      <vt:lpstr>Презентация PowerPoint</vt:lpstr>
      <vt:lpstr>Цели реализации Программы</vt:lpstr>
      <vt:lpstr>Структура автопарка группы лиц ООО «Газпром межрегионгаз»</vt:lpstr>
      <vt:lpstr>Программа ООО «Газпром межрегионгаз».  Критерии выбора ДЗО.</vt:lpstr>
      <vt:lpstr>Периметр Программы</vt:lpstr>
      <vt:lpstr>Факторы влияния на исполнение Программы</vt:lpstr>
      <vt:lpstr>Требования к транспортным средствам для включения в Программу</vt:lpstr>
      <vt:lpstr>Требования к транспортным средствам для включения в Программу. Транспортные средства подлежащие переводу на КПГ.</vt:lpstr>
      <vt:lpstr>Целевые показатели Программы</vt:lpstr>
      <vt:lpstr>Мероприятия Программы по переводу ТС на КПГ</vt:lpstr>
      <vt:lpstr>Допущения и предпосылки финансово-экономической модели </vt:lpstr>
      <vt:lpstr>Cтруктура инвестиций</vt:lpstr>
      <vt:lpstr>Срок окупаемости Программы</vt:lpstr>
      <vt:lpstr>Мероприятия по обеспечению исполнения Программы</vt:lpstr>
      <vt:lpstr>Презентация PowerPoint</vt:lpstr>
    </vt:vector>
  </TitlesOfParts>
  <Company>ООО "Газпром переработка"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ервый заместитель  генерального директора</dc:title>
  <dc:creator>Ткаченко Евгений Витальевич</dc:creator>
  <cp:lastModifiedBy>Колобов Дмитрий Сергеевич</cp:lastModifiedBy>
  <cp:revision>688</cp:revision>
  <cp:lastPrinted>2018-10-02T05:35:52Z</cp:lastPrinted>
  <dcterms:created xsi:type="dcterms:W3CDTF">2016-05-18T09:44:27Z</dcterms:created>
  <dcterms:modified xsi:type="dcterms:W3CDTF">2018-10-02T06:32:15Z</dcterms:modified>
</cp:coreProperties>
</file>